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312" r:id="rId7"/>
    <p:sldId id="313" r:id="rId8"/>
    <p:sldId id="314" r:id="rId9"/>
    <p:sldId id="315" r:id="rId10"/>
    <p:sldId id="310" r:id="rId11"/>
    <p:sldId id="311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21" autoAdjust="0"/>
    <p:restoredTop sz="94660"/>
  </p:normalViewPr>
  <p:slideViewPr>
    <p:cSldViewPr snapToGrid="0">
      <p:cViewPr varScale="1">
        <p:scale>
          <a:sx n="118" d="100"/>
          <a:sy n="118" d="100"/>
        </p:scale>
        <p:origin x="24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6BBDCE3-5D62-442E-A998-6121FAFAF905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EDFE61C-4C00-48CA-8F4A-9384474EE43B}">
      <dgm:prSet phldrT="[Text]" custT="1"/>
      <dgm:spPr/>
      <dgm:t>
        <a:bodyPr/>
        <a:lstStyle/>
        <a:p>
          <a:r>
            <a:rPr lang="en-US" sz="2000" dirty="0">
              <a:solidFill>
                <a:srgbClr val="000000"/>
              </a:solidFill>
            </a:rPr>
            <a:t>Hardship withdrawals</a:t>
          </a:r>
        </a:p>
      </dgm:t>
    </dgm:pt>
    <dgm:pt modelId="{2355874F-DF40-467B-80C5-AAF74804210E}" type="parTrans" cxnId="{AA1F7A6C-DE2E-4188-A714-8310B4A6CF37}">
      <dgm:prSet/>
      <dgm:spPr/>
      <dgm:t>
        <a:bodyPr/>
        <a:lstStyle/>
        <a:p>
          <a:endParaRPr lang="en-US"/>
        </a:p>
      </dgm:t>
    </dgm:pt>
    <dgm:pt modelId="{DA10DE8B-D897-44E6-B678-03244D928959}" type="sibTrans" cxnId="{AA1F7A6C-DE2E-4188-A714-8310B4A6CF37}">
      <dgm:prSet/>
      <dgm:spPr/>
      <dgm:t>
        <a:bodyPr/>
        <a:lstStyle/>
        <a:p>
          <a:endParaRPr lang="en-US"/>
        </a:p>
      </dgm:t>
    </dgm:pt>
    <dgm:pt modelId="{B5A8E6A3-9976-49C5-8716-D68EA805F73E}">
      <dgm:prSet phldrT="[Text]" custT="1"/>
      <dgm:spPr/>
      <dgm:t>
        <a:bodyPr/>
        <a:lstStyle/>
        <a:p>
          <a:r>
            <a:rPr lang="en-US" sz="1400" dirty="0">
              <a:solidFill>
                <a:srgbClr val="000000"/>
              </a:solidFill>
            </a:rPr>
            <a:t>Missing Withdrawal amount</a:t>
          </a:r>
        </a:p>
      </dgm:t>
    </dgm:pt>
    <dgm:pt modelId="{375AEBB7-CEDD-4DD6-A785-A558FDB12275}" type="parTrans" cxnId="{A3E87ADF-4293-4AF7-AF81-3F7D3B30E572}">
      <dgm:prSet/>
      <dgm:spPr/>
      <dgm:t>
        <a:bodyPr/>
        <a:lstStyle/>
        <a:p>
          <a:endParaRPr lang="en-US"/>
        </a:p>
      </dgm:t>
    </dgm:pt>
    <dgm:pt modelId="{63AB965B-E93B-416E-8340-CF3F06405CEE}" type="sibTrans" cxnId="{A3E87ADF-4293-4AF7-AF81-3F7D3B30E572}">
      <dgm:prSet/>
      <dgm:spPr/>
      <dgm:t>
        <a:bodyPr/>
        <a:lstStyle/>
        <a:p>
          <a:endParaRPr lang="en-US"/>
        </a:p>
      </dgm:t>
    </dgm:pt>
    <dgm:pt modelId="{61D3007A-A642-4C36-9953-F6F7B9C0BAE1}">
      <dgm:prSet phldrT="[Text]" custT="1"/>
      <dgm:spPr/>
      <dgm:t>
        <a:bodyPr/>
        <a:lstStyle/>
        <a:p>
          <a:r>
            <a:rPr lang="en-US" sz="1400" dirty="0">
              <a:solidFill>
                <a:srgbClr val="000000"/>
              </a:solidFill>
            </a:rPr>
            <a:t>Multiple/NO hardship reason selected</a:t>
          </a:r>
        </a:p>
      </dgm:t>
    </dgm:pt>
    <dgm:pt modelId="{0089A1FA-24D4-4939-BC9F-DC205301C243}" type="parTrans" cxnId="{8885203C-D019-44D7-88F4-782C5783904E}">
      <dgm:prSet/>
      <dgm:spPr/>
      <dgm:t>
        <a:bodyPr/>
        <a:lstStyle/>
        <a:p>
          <a:endParaRPr lang="en-US"/>
        </a:p>
      </dgm:t>
    </dgm:pt>
    <dgm:pt modelId="{A42397C8-50C1-4CD0-8C9C-A671D8A3E6D5}" type="sibTrans" cxnId="{8885203C-D019-44D7-88F4-782C5783904E}">
      <dgm:prSet/>
      <dgm:spPr/>
      <dgm:t>
        <a:bodyPr/>
        <a:lstStyle/>
        <a:p>
          <a:endParaRPr lang="en-US"/>
        </a:p>
      </dgm:t>
    </dgm:pt>
    <dgm:pt modelId="{1015935B-4522-4D4E-A8EA-9F33B9D06D0F}">
      <dgm:prSet phldrT="[Text]" custT="1"/>
      <dgm:spPr/>
      <dgm:t>
        <a:bodyPr/>
        <a:lstStyle/>
        <a:p>
          <a:r>
            <a:rPr lang="en-US" sz="2000" dirty="0">
              <a:solidFill>
                <a:srgbClr val="000000"/>
              </a:solidFill>
            </a:rPr>
            <a:t>Broker Change Forms</a:t>
          </a:r>
        </a:p>
      </dgm:t>
    </dgm:pt>
    <dgm:pt modelId="{BB1FAAB4-3262-4345-B224-0F65BD05FA5A}" type="parTrans" cxnId="{6ED7D5C8-C914-4085-BC81-55C3C48406EF}">
      <dgm:prSet/>
      <dgm:spPr/>
      <dgm:t>
        <a:bodyPr/>
        <a:lstStyle/>
        <a:p>
          <a:endParaRPr lang="en-US"/>
        </a:p>
      </dgm:t>
    </dgm:pt>
    <dgm:pt modelId="{799F2CCB-BDC0-4018-B5B3-41325F9E1B5F}" type="sibTrans" cxnId="{6ED7D5C8-C914-4085-BC81-55C3C48406EF}">
      <dgm:prSet/>
      <dgm:spPr/>
      <dgm:t>
        <a:bodyPr/>
        <a:lstStyle/>
        <a:p>
          <a:endParaRPr lang="en-US"/>
        </a:p>
      </dgm:t>
    </dgm:pt>
    <dgm:pt modelId="{7D6A1F72-74B3-4999-A752-0408826D3583}">
      <dgm:prSet phldrT="[Text]"/>
      <dgm:spPr/>
      <dgm:t>
        <a:bodyPr/>
        <a:lstStyle/>
        <a:p>
          <a:r>
            <a:rPr lang="en-US" dirty="0">
              <a:solidFill>
                <a:srgbClr val="000000"/>
              </a:solidFill>
            </a:rPr>
            <a:t>Missing SSN</a:t>
          </a:r>
        </a:p>
      </dgm:t>
    </dgm:pt>
    <dgm:pt modelId="{F4BF9986-0A1A-40FD-908B-B62C38B106CE}" type="parTrans" cxnId="{E4850451-AAC4-4D9E-92D8-611C5B501627}">
      <dgm:prSet/>
      <dgm:spPr/>
      <dgm:t>
        <a:bodyPr/>
        <a:lstStyle/>
        <a:p>
          <a:endParaRPr lang="en-US"/>
        </a:p>
      </dgm:t>
    </dgm:pt>
    <dgm:pt modelId="{344DA550-A9E7-427B-99DC-3B9017A7DDA4}" type="sibTrans" cxnId="{E4850451-AAC4-4D9E-92D8-611C5B501627}">
      <dgm:prSet/>
      <dgm:spPr/>
      <dgm:t>
        <a:bodyPr/>
        <a:lstStyle/>
        <a:p>
          <a:endParaRPr lang="en-US"/>
        </a:p>
      </dgm:t>
    </dgm:pt>
    <dgm:pt modelId="{6BE5B86E-CEB0-4815-A1C0-612CBD1B393C}">
      <dgm:prSet phldrT="[Text]"/>
      <dgm:spPr/>
      <dgm:t>
        <a:bodyPr/>
        <a:lstStyle/>
        <a:p>
          <a:r>
            <a:rPr lang="en-US" dirty="0">
              <a:solidFill>
                <a:srgbClr val="000000"/>
              </a:solidFill>
            </a:rPr>
            <a:t>Didn’t choose one of the Agent options</a:t>
          </a:r>
        </a:p>
      </dgm:t>
    </dgm:pt>
    <dgm:pt modelId="{E3737AED-E4A0-4718-9644-A89E92FE3232}" type="parTrans" cxnId="{F5AB1550-BFC6-42BE-B751-2720CB809E16}">
      <dgm:prSet/>
      <dgm:spPr/>
      <dgm:t>
        <a:bodyPr/>
        <a:lstStyle/>
        <a:p>
          <a:endParaRPr lang="en-US"/>
        </a:p>
      </dgm:t>
    </dgm:pt>
    <dgm:pt modelId="{CBAED2C7-DF27-433C-A16D-7B966769F8F6}" type="sibTrans" cxnId="{F5AB1550-BFC6-42BE-B751-2720CB809E16}">
      <dgm:prSet/>
      <dgm:spPr/>
      <dgm:t>
        <a:bodyPr/>
        <a:lstStyle/>
        <a:p>
          <a:endParaRPr lang="en-US"/>
        </a:p>
      </dgm:t>
    </dgm:pt>
    <dgm:pt modelId="{58D1B74E-D0C8-46AA-BD42-23691CB042A1}">
      <dgm:prSet phldrT="[Text]" custT="1"/>
      <dgm:spPr/>
      <dgm:t>
        <a:bodyPr/>
        <a:lstStyle/>
        <a:p>
          <a:r>
            <a:rPr lang="en-US" sz="2000" dirty="0">
              <a:solidFill>
                <a:srgbClr val="000000"/>
              </a:solidFill>
            </a:rPr>
            <a:t>Death Benefits</a:t>
          </a:r>
        </a:p>
      </dgm:t>
    </dgm:pt>
    <dgm:pt modelId="{DFDFB5DF-2FD0-4126-AF13-E7DFE384ACBD}" type="parTrans" cxnId="{BB86A370-B1A6-41C2-8A67-F61957E33D7A}">
      <dgm:prSet/>
      <dgm:spPr/>
      <dgm:t>
        <a:bodyPr/>
        <a:lstStyle/>
        <a:p>
          <a:endParaRPr lang="en-US"/>
        </a:p>
      </dgm:t>
    </dgm:pt>
    <dgm:pt modelId="{C84C8F5A-53FB-45D0-B771-5B32168B38C8}" type="sibTrans" cxnId="{BB86A370-B1A6-41C2-8A67-F61957E33D7A}">
      <dgm:prSet/>
      <dgm:spPr/>
      <dgm:t>
        <a:bodyPr/>
        <a:lstStyle/>
        <a:p>
          <a:endParaRPr lang="en-US"/>
        </a:p>
      </dgm:t>
    </dgm:pt>
    <dgm:pt modelId="{E8CB4DAE-98BD-4672-B24F-868989B72B71}">
      <dgm:prSet phldrT="[Text]"/>
      <dgm:spPr/>
      <dgm:t>
        <a:bodyPr/>
        <a:lstStyle/>
        <a:p>
          <a:r>
            <a:rPr lang="en-US" dirty="0">
              <a:solidFill>
                <a:srgbClr val="000000"/>
              </a:solidFill>
            </a:rPr>
            <a:t>Contribution Rate must be whole number</a:t>
          </a:r>
        </a:p>
      </dgm:t>
    </dgm:pt>
    <dgm:pt modelId="{942D2394-4AD2-4FF7-8406-98DBAE40B052}" type="parTrans" cxnId="{31BB2452-AB7E-46BA-83FC-BB5659DD96FB}">
      <dgm:prSet/>
      <dgm:spPr/>
      <dgm:t>
        <a:bodyPr/>
        <a:lstStyle/>
        <a:p>
          <a:endParaRPr lang="en-US"/>
        </a:p>
      </dgm:t>
    </dgm:pt>
    <dgm:pt modelId="{614B3778-65A2-4E55-921C-E857932104E5}" type="sibTrans" cxnId="{31BB2452-AB7E-46BA-83FC-BB5659DD96FB}">
      <dgm:prSet/>
      <dgm:spPr/>
      <dgm:t>
        <a:bodyPr/>
        <a:lstStyle/>
        <a:p>
          <a:endParaRPr lang="en-US"/>
        </a:p>
      </dgm:t>
    </dgm:pt>
    <dgm:pt modelId="{A70A9CE7-BC45-43A5-8A25-7D984F57D5CD}">
      <dgm:prSet phldrT="[Text]"/>
      <dgm:spPr/>
      <dgm:t>
        <a:bodyPr/>
        <a:lstStyle/>
        <a:p>
          <a:r>
            <a:rPr lang="en-US" dirty="0">
              <a:solidFill>
                <a:srgbClr val="000000"/>
              </a:solidFill>
            </a:rPr>
            <a:t>Missing Date of Birth of beneficiary </a:t>
          </a:r>
        </a:p>
      </dgm:t>
    </dgm:pt>
    <dgm:pt modelId="{A4DEF2D7-88E5-4383-B384-3575B3CC166D}" type="parTrans" cxnId="{10B48129-4B08-4246-98CD-FFE106BFCBD7}">
      <dgm:prSet/>
      <dgm:spPr/>
      <dgm:t>
        <a:bodyPr/>
        <a:lstStyle/>
        <a:p>
          <a:endParaRPr lang="en-US"/>
        </a:p>
      </dgm:t>
    </dgm:pt>
    <dgm:pt modelId="{2FB5E4FF-BF94-4A06-B91F-886DA94F1D6D}" type="sibTrans" cxnId="{10B48129-4B08-4246-98CD-FFE106BFCBD7}">
      <dgm:prSet/>
      <dgm:spPr/>
      <dgm:t>
        <a:bodyPr/>
        <a:lstStyle/>
        <a:p>
          <a:endParaRPr lang="en-US"/>
        </a:p>
      </dgm:t>
    </dgm:pt>
    <dgm:pt modelId="{0C0AE1E2-3C90-48E7-A213-11171D0BA452}">
      <dgm:prSet phldrT="[Text]" custT="1"/>
      <dgm:spPr/>
      <dgm:t>
        <a:bodyPr/>
        <a:lstStyle/>
        <a:p>
          <a:r>
            <a:rPr lang="en-US" sz="1400" dirty="0">
              <a:solidFill>
                <a:srgbClr val="000000"/>
              </a:solidFill>
            </a:rPr>
            <a:t>Missing PA signatures</a:t>
          </a:r>
        </a:p>
      </dgm:t>
    </dgm:pt>
    <dgm:pt modelId="{0CAF38A7-FF11-4F90-916B-FC014C85A06C}" type="parTrans" cxnId="{0E912E12-5C98-4469-A486-FCF3445A8AC3}">
      <dgm:prSet/>
      <dgm:spPr/>
      <dgm:t>
        <a:bodyPr/>
        <a:lstStyle/>
        <a:p>
          <a:endParaRPr lang="en-US"/>
        </a:p>
      </dgm:t>
    </dgm:pt>
    <dgm:pt modelId="{5A7BC652-E1BB-4CAA-896D-60B1C08BA0F1}" type="sibTrans" cxnId="{0E912E12-5C98-4469-A486-FCF3445A8AC3}">
      <dgm:prSet/>
      <dgm:spPr/>
      <dgm:t>
        <a:bodyPr/>
        <a:lstStyle/>
        <a:p>
          <a:endParaRPr lang="en-US"/>
        </a:p>
      </dgm:t>
    </dgm:pt>
    <dgm:pt modelId="{8DC8E5AD-436D-4933-95DF-F737D36710F4}">
      <dgm:prSet phldrT="[Text]"/>
      <dgm:spPr/>
      <dgm:t>
        <a:bodyPr/>
        <a:lstStyle/>
        <a:p>
          <a:r>
            <a:rPr lang="en-US" dirty="0">
              <a:solidFill>
                <a:srgbClr val="000000"/>
              </a:solidFill>
            </a:rPr>
            <a:t>Missing choice of fund distribution election</a:t>
          </a:r>
        </a:p>
      </dgm:t>
    </dgm:pt>
    <dgm:pt modelId="{04A2AC48-6ADC-4782-AD7A-A27D582EA049}" type="parTrans" cxnId="{2806D239-F5F2-49B9-BD0C-3128E631B3C5}">
      <dgm:prSet/>
      <dgm:spPr/>
      <dgm:t>
        <a:bodyPr/>
        <a:lstStyle/>
        <a:p>
          <a:endParaRPr lang="en-US"/>
        </a:p>
      </dgm:t>
    </dgm:pt>
    <dgm:pt modelId="{0C855C25-43C1-4F16-80CE-CFB150EA18A8}" type="sibTrans" cxnId="{2806D239-F5F2-49B9-BD0C-3128E631B3C5}">
      <dgm:prSet/>
      <dgm:spPr/>
      <dgm:t>
        <a:bodyPr/>
        <a:lstStyle/>
        <a:p>
          <a:endParaRPr lang="en-US"/>
        </a:p>
      </dgm:t>
    </dgm:pt>
    <dgm:pt modelId="{59085D4A-F6C2-4F5D-BC54-BB619AFD6F41}">
      <dgm:prSet phldrT="[Text]"/>
      <dgm:spPr/>
      <dgm:t>
        <a:bodyPr/>
        <a:lstStyle/>
        <a:p>
          <a:r>
            <a:rPr lang="en-US" dirty="0">
              <a:solidFill>
                <a:srgbClr val="000000"/>
              </a:solidFill>
            </a:rPr>
            <a:t>Missing Relationship to deceased</a:t>
          </a:r>
        </a:p>
      </dgm:t>
    </dgm:pt>
    <dgm:pt modelId="{3D901761-CCE6-4967-8AEE-8797281613D2}" type="parTrans" cxnId="{F9DF8B41-4736-4784-A105-6DE31FCB6CA6}">
      <dgm:prSet/>
      <dgm:spPr/>
      <dgm:t>
        <a:bodyPr/>
        <a:lstStyle/>
        <a:p>
          <a:endParaRPr lang="en-US"/>
        </a:p>
      </dgm:t>
    </dgm:pt>
    <dgm:pt modelId="{6DB2A916-B261-40CF-9CDF-34F833DE5D6D}" type="sibTrans" cxnId="{F9DF8B41-4736-4784-A105-6DE31FCB6CA6}">
      <dgm:prSet/>
      <dgm:spPr/>
      <dgm:t>
        <a:bodyPr/>
        <a:lstStyle/>
        <a:p>
          <a:endParaRPr lang="en-US"/>
        </a:p>
      </dgm:t>
    </dgm:pt>
    <dgm:pt modelId="{9F02383A-3568-427F-B12D-0EC6885F72A2}">
      <dgm:prSet phldrT="[Text]" custT="1"/>
      <dgm:spPr/>
      <dgm:t>
        <a:bodyPr/>
        <a:lstStyle/>
        <a:p>
          <a:endParaRPr lang="en-US" sz="1400" dirty="0">
            <a:solidFill>
              <a:srgbClr val="000000"/>
            </a:solidFill>
          </a:endParaRPr>
        </a:p>
        <a:p>
          <a:r>
            <a:rPr lang="en-US" sz="1400" dirty="0">
              <a:solidFill>
                <a:srgbClr val="000000"/>
              </a:solidFill>
            </a:rPr>
            <a:t>Unclear or invalid Participant Address</a:t>
          </a:r>
        </a:p>
        <a:p>
          <a:endParaRPr lang="en-US" sz="1400" dirty="0">
            <a:solidFill>
              <a:srgbClr val="000000"/>
            </a:solidFill>
          </a:endParaRPr>
        </a:p>
      </dgm:t>
    </dgm:pt>
    <dgm:pt modelId="{04495E0B-B641-4386-87F1-BCAF485E19B1}" type="parTrans" cxnId="{3F4F43E0-FD4B-4AEA-B6BE-FD9BA8CD8B1E}">
      <dgm:prSet/>
      <dgm:spPr/>
      <dgm:t>
        <a:bodyPr/>
        <a:lstStyle/>
        <a:p>
          <a:endParaRPr lang="en-US"/>
        </a:p>
      </dgm:t>
    </dgm:pt>
    <dgm:pt modelId="{77E4DEA8-C0CC-4D87-95E3-313B7FED3B42}" type="sibTrans" cxnId="{3F4F43E0-FD4B-4AEA-B6BE-FD9BA8CD8B1E}">
      <dgm:prSet/>
      <dgm:spPr/>
      <dgm:t>
        <a:bodyPr/>
        <a:lstStyle/>
        <a:p>
          <a:endParaRPr lang="en-US"/>
        </a:p>
      </dgm:t>
    </dgm:pt>
    <dgm:pt modelId="{93783C74-BC67-4DE6-B284-3A8210CAE074}">
      <dgm:prSet phldrT="[Text]"/>
      <dgm:spPr/>
      <dgm:t>
        <a:bodyPr/>
        <a:lstStyle/>
        <a:p>
          <a:r>
            <a:rPr lang="en-US" dirty="0">
              <a:solidFill>
                <a:srgbClr val="000000"/>
              </a:solidFill>
            </a:rPr>
            <a:t>Missing or Illegible Branch ID or Rep ID</a:t>
          </a:r>
        </a:p>
      </dgm:t>
    </dgm:pt>
    <dgm:pt modelId="{C6325D95-E86D-452A-8677-F37DEA5B3399}" type="parTrans" cxnId="{1656EB71-A809-46F0-9DDB-B04B2E7BC7AC}">
      <dgm:prSet/>
      <dgm:spPr/>
      <dgm:t>
        <a:bodyPr/>
        <a:lstStyle/>
        <a:p>
          <a:endParaRPr lang="en-US"/>
        </a:p>
      </dgm:t>
    </dgm:pt>
    <dgm:pt modelId="{54CAFAFF-CCB0-4ED8-BA89-9ECB024544FE}" type="sibTrans" cxnId="{1656EB71-A809-46F0-9DDB-B04B2E7BC7AC}">
      <dgm:prSet/>
      <dgm:spPr/>
      <dgm:t>
        <a:bodyPr/>
        <a:lstStyle/>
        <a:p>
          <a:endParaRPr lang="en-US"/>
        </a:p>
      </dgm:t>
    </dgm:pt>
    <dgm:pt modelId="{F79D764E-2CF0-4ABF-870A-78E794F3B80E}">
      <dgm:prSet phldrT="[Text]"/>
      <dgm:spPr/>
      <dgm:t>
        <a:bodyPr/>
        <a:lstStyle/>
        <a:p>
          <a:r>
            <a:rPr lang="en-US" dirty="0">
              <a:solidFill>
                <a:srgbClr val="000000"/>
              </a:solidFill>
            </a:rPr>
            <a:t>Multiple Agents’, Partners’ Name or Team name</a:t>
          </a:r>
        </a:p>
      </dgm:t>
    </dgm:pt>
    <dgm:pt modelId="{A03F9C46-7CF8-4EA6-8E28-BA2E53BDF550}" type="parTrans" cxnId="{66B5BA12-84B0-4279-9883-E91E105F4E13}">
      <dgm:prSet/>
      <dgm:spPr/>
      <dgm:t>
        <a:bodyPr/>
        <a:lstStyle/>
        <a:p>
          <a:endParaRPr lang="en-US"/>
        </a:p>
      </dgm:t>
    </dgm:pt>
    <dgm:pt modelId="{9FBCB7C9-5AA7-4615-AB4D-4F0D5200AE14}" type="sibTrans" cxnId="{66B5BA12-84B0-4279-9883-E91E105F4E13}">
      <dgm:prSet/>
      <dgm:spPr/>
      <dgm:t>
        <a:bodyPr/>
        <a:lstStyle/>
        <a:p>
          <a:endParaRPr lang="en-US"/>
        </a:p>
      </dgm:t>
    </dgm:pt>
    <dgm:pt modelId="{CAF2C802-BCB4-4BB7-94F5-7C21AE8A4266}" type="pres">
      <dgm:prSet presAssocID="{86BBDCE3-5D62-442E-A998-6121FAFAF905}" presName="theList" presStyleCnt="0">
        <dgm:presLayoutVars>
          <dgm:dir/>
          <dgm:animLvl val="lvl"/>
          <dgm:resizeHandles val="exact"/>
        </dgm:presLayoutVars>
      </dgm:prSet>
      <dgm:spPr/>
    </dgm:pt>
    <dgm:pt modelId="{CEEA67DF-C126-45F8-9129-3DBDDAFEDDB6}" type="pres">
      <dgm:prSet presAssocID="{9EDFE61C-4C00-48CA-8F4A-9384474EE43B}" presName="compNode" presStyleCnt="0"/>
      <dgm:spPr/>
    </dgm:pt>
    <dgm:pt modelId="{7196DDCE-8447-4D6B-AF7D-149BC1D9404C}" type="pres">
      <dgm:prSet presAssocID="{9EDFE61C-4C00-48CA-8F4A-9384474EE43B}" presName="aNode" presStyleLbl="bgShp" presStyleIdx="0" presStyleCnt="3"/>
      <dgm:spPr/>
    </dgm:pt>
    <dgm:pt modelId="{33D38975-2473-452E-9DE3-76A01869D607}" type="pres">
      <dgm:prSet presAssocID="{9EDFE61C-4C00-48CA-8F4A-9384474EE43B}" presName="textNode" presStyleLbl="bgShp" presStyleIdx="0" presStyleCnt="3"/>
      <dgm:spPr/>
    </dgm:pt>
    <dgm:pt modelId="{851C7440-4FE8-42A7-B775-4437C4672826}" type="pres">
      <dgm:prSet presAssocID="{9EDFE61C-4C00-48CA-8F4A-9384474EE43B}" presName="compChildNode" presStyleCnt="0"/>
      <dgm:spPr/>
    </dgm:pt>
    <dgm:pt modelId="{27E3C4D9-D5C2-422F-AC72-D20534E7D23A}" type="pres">
      <dgm:prSet presAssocID="{9EDFE61C-4C00-48CA-8F4A-9384474EE43B}" presName="theInnerList" presStyleCnt="0"/>
      <dgm:spPr/>
    </dgm:pt>
    <dgm:pt modelId="{391CC963-EDA0-45B4-ADBD-63B78A11D8C2}" type="pres">
      <dgm:prSet presAssocID="{B5A8E6A3-9976-49C5-8716-D68EA805F73E}" presName="childNode" presStyleLbl="node1" presStyleIdx="0" presStyleCnt="12">
        <dgm:presLayoutVars>
          <dgm:bulletEnabled val="1"/>
        </dgm:presLayoutVars>
      </dgm:prSet>
      <dgm:spPr/>
    </dgm:pt>
    <dgm:pt modelId="{B8449082-260D-4914-A4DD-B2D57F836651}" type="pres">
      <dgm:prSet presAssocID="{B5A8E6A3-9976-49C5-8716-D68EA805F73E}" presName="aSpace2" presStyleCnt="0"/>
      <dgm:spPr/>
    </dgm:pt>
    <dgm:pt modelId="{E146A5D2-8E14-4510-96CC-E540EB0D1E30}" type="pres">
      <dgm:prSet presAssocID="{61D3007A-A642-4C36-9953-F6F7B9C0BAE1}" presName="childNode" presStyleLbl="node1" presStyleIdx="1" presStyleCnt="12">
        <dgm:presLayoutVars>
          <dgm:bulletEnabled val="1"/>
        </dgm:presLayoutVars>
      </dgm:prSet>
      <dgm:spPr/>
    </dgm:pt>
    <dgm:pt modelId="{B9703257-61D8-4074-9A7C-B0FDDB82716B}" type="pres">
      <dgm:prSet presAssocID="{61D3007A-A642-4C36-9953-F6F7B9C0BAE1}" presName="aSpace2" presStyleCnt="0"/>
      <dgm:spPr/>
    </dgm:pt>
    <dgm:pt modelId="{56FE68D7-0BB2-4486-8CAF-3DA091ABCAB7}" type="pres">
      <dgm:prSet presAssocID="{0C0AE1E2-3C90-48E7-A213-11171D0BA452}" presName="childNode" presStyleLbl="node1" presStyleIdx="2" presStyleCnt="12">
        <dgm:presLayoutVars>
          <dgm:bulletEnabled val="1"/>
        </dgm:presLayoutVars>
      </dgm:prSet>
      <dgm:spPr/>
    </dgm:pt>
    <dgm:pt modelId="{F92F832C-9980-4E23-AD7A-7B35B04349F4}" type="pres">
      <dgm:prSet presAssocID="{0C0AE1E2-3C90-48E7-A213-11171D0BA452}" presName="aSpace2" presStyleCnt="0"/>
      <dgm:spPr/>
    </dgm:pt>
    <dgm:pt modelId="{AA48508D-4527-4D3D-BE88-230DCC9A51C0}" type="pres">
      <dgm:prSet presAssocID="{9F02383A-3568-427F-B12D-0EC6885F72A2}" presName="childNode" presStyleLbl="node1" presStyleIdx="3" presStyleCnt="12">
        <dgm:presLayoutVars>
          <dgm:bulletEnabled val="1"/>
        </dgm:presLayoutVars>
      </dgm:prSet>
      <dgm:spPr/>
    </dgm:pt>
    <dgm:pt modelId="{71D85474-6B90-4162-A6BB-2756724EF61A}" type="pres">
      <dgm:prSet presAssocID="{9EDFE61C-4C00-48CA-8F4A-9384474EE43B}" presName="aSpace" presStyleCnt="0"/>
      <dgm:spPr/>
    </dgm:pt>
    <dgm:pt modelId="{E2B9D198-6984-4873-BD2F-1913C7CFB513}" type="pres">
      <dgm:prSet presAssocID="{1015935B-4522-4D4E-A8EA-9F33B9D06D0F}" presName="compNode" presStyleCnt="0"/>
      <dgm:spPr/>
    </dgm:pt>
    <dgm:pt modelId="{6348DB21-CCE4-47A2-BB94-5C081455A379}" type="pres">
      <dgm:prSet presAssocID="{1015935B-4522-4D4E-A8EA-9F33B9D06D0F}" presName="aNode" presStyleLbl="bgShp" presStyleIdx="1" presStyleCnt="3"/>
      <dgm:spPr/>
    </dgm:pt>
    <dgm:pt modelId="{885B9964-CE2E-455C-93DA-35596FB2EA43}" type="pres">
      <dgm:prSet presAssocID="{1015935B-4522-4D4E-A8EA-9F33B9D06D0F}" presName="textNode" presStyleLbl="bgShp" presStyleIdx="1" presStyleCnt="3"/>
      <dgm:spPr/>
    </dgm:pt>
    <dgm:pt modelId="{7E074B6A-155C-4208-B0BF-F3F0AF0181C1}" type="pres">
      <dgm:prSet presAssocID="{1015935B-4522-4D4E-A8EA-9F33B9D06D0F}" presName="compChildNode" presStyleCnt="0"/>
      <dgm:spPr/>
    </dgm:pt>
    <dgm:pt modelId="{1036047C-780E-4C70-BD69-832C7E1E991C}" type="pres">
      <dgm:prSet presAssocID="{1015935B-4522-4D4E-A8EA-9F33B9D06D0F}" presName="theInnerList" presStyleCnt="0"/>
      <dgm:spPr/>
    </dgm:pt>
    <dgm:pt modelId="{0AC067F6-57AB-4E69-9396-4A78332CB4D5}" type="pres">
      <dgm:prSet presAssocID="{7D6A1F72-74B3-4999-A752-0408826D3583}" presName="childNode" presStyleLbl="node1" presStyleIdx="4" presStyleCnt="12">
        <dgm:presLayoutVars>
          <dgm:bulletEnabled val="1"/>
        </dgm:presLayoutVars>
      </dgm:prSet>
      <dgm:spPr/>
    </dgm:pt>
    <dgm:pt modelId="{6E7EF37D-F9EC-4B9E-A461-050ECF875134}" type="pres">
      <dgm:prSet presAssocID="{7D6A1F72-74B3-4999-A752-0408826D3583}" presName="aSpace2" presStyleCnt="0"/>
      <dgm:spPr/>
    </dgm:pt>
    <dgm:pt modelId="{5BE27B71-5FCE-414E-9EDA-917D025947FF}" type="pres">
      <dgm:prSet presAssocID="{6BE5B86E-CEB0-4815-A1C0-612CBD1B393C}" presName="childNode" presStyleLbl="node1" presStyleIdx="5" presStyleCnt="12">
        <dgm:presLayoutVars>
          <dgm:bulletEnabled val="1"/>
        </dgm:presLayoutVars>
      </dgm:prSet>
      <dgm:spPr/>
    </dgm:pt>
    <dgm:pt modelId="{6780832E-0B8E-4E09-951C-FAD6516DD4D3}" type="pres">
      <dgm:prSet presAssocID="{6BE5B86E-CEB0-4815-A1C0-612CBD1B393C}" presName="aSpace2" presStyleCnt="0"/>
      <dgm:spPr/>
    </dgm:pt>
    <dgm:pt modelId="{538CAAA2-B43B-49DA-A099-D622A83D4B1E}" type="pres">
      <dgm:prSet presAssocID="{93783C74-BC67-4DE6-B284-3A8210CAE074}" presName="childNode" presStyleLbl="node1" presStyleIdx="6" presStyleCnt="12">
        <dgm:presLayoutVars>
          <dgm:bulletEnabled val="1"/>
        </dgm:presLayoutVars>
      </dgm:prSet>
      <dgm:spPr/>
    </dgm:pt>
    <dgm:pt modelId="{6AF113E2-EA4D-4B9D-854E-2C38C6872168}" type="pres">
      <dgm:prSet presAssocID="{93783C74-BC67-4DE6-B284-3A8210CAE074}" presName="aSpace2" presStyleCnt="0"/>
      <dgm:spPr/>
    </dgm:pt>
    <dgm:pt modelId="{3D1B8F16-5E17-4BF0-9F3E-8D54DE7FB20C}" type="pres">
      <dgm:prSet presAssocID="{F79D764E-2CF0-4ABF-870A-78E794F3B80E}" presName="childNode" presStyleLbl="node1" presStyleIdx="7" presStyleCnt="12">
        <dgm:presLayoutVars>
          <dgm:bulletEnabled val="1"/>
        </dgm:presLayoutVars>
      </dgm:prSet>
      <dgm:spPr/>
    </dgm:pt>
    <dgm:pt modelId="{86153DFF-1606-4A14-9210-2E54AAE8F20B}" type="pres">
      <dgm:prSet presAssocID="{1015935B-4522-4D4E-A8EA-9F33B9D06D0F}" presName="aSpace" presStyleCnt="0"/>
      <dgm:spPr/>
    </dgm:pt>
    <dgm:pt modelId="{3FB04557-69BB-4C8F-B69A-69C5A383A78E}" type="pres">
      <dgm:prSet presAssocID="{58D1B74E-D0C8-46AA-BD42-23691CB042A1}" presName="compNode" presStyleCnt="0"/>
      <dgm:spPr/>
    </dgm:pt>
    <dgm:pt modelId="{A905EE99-7192-4970-B006-3B13A651D64A}" type="pres">
      <dgm:prSet presAssocID="{58D1B74E-D0C8-46AA-BD42-23691CB042A1}" presName="aNode" presStyleLbl="bgShp" presStyleIdx="2" presStyleCnt="3"/>
      <dgm:spPr/>
    </dgm:pt>
    <dgm:pt modelId="{A85542C5-B0CE-4B04-ADE5-C9F2020B1688}" type="pres">
      <dgm:prSet presAssocID="{58D1B74E-D0C8-46AA-BD42-23691CB042A1}" presName="textNode" presStyleLbl="bgShp" presStyleIdx="2" presStyleCnt="3"/>
      <dgm:spPr/>
    </dgm:pt>
    <dgm:pt modelId="{CCCBF0BB-48FD-46AB-B8F3-FDBE5A15A24A}" type="pres">
      <dgm:prSet presAssocID="{58D1B74E-D0C8-46AA-BD42-23691CB042A1}" presName="compChildNode" presStyleCnt="0"/>
      <dgm:spPr/>
    </dgm:pt>
    <dgm:pt modelId="{4E33FC1C-1C58-47D3-ABEF-A12BE5A8A529}" type="pres">
      <dgm:prSet presAssocID="{58D1B74E-D0C8-46AA-BD42-23691CB042A1}" presName="theInnerList" presStyleCnt="0"/>
      <dgm:spPr/>
    </dgm:pt>
    <dgm:pt modelId="{C37D731A-D5E5-42F0-8D05-C1A93F8A418C}" type="pres">
      <dgm:prSet presAssocID="{E8CB4DAE-98BD-4672-B24F-868989B72B71}" presName="childNode" presStyleLbl="node1" presStyleIdx="8" presStyleCnt="12">
        <dgm:presLayoutVars>
          <dgm:bulletEnabled val="1"/>
        </dgm:presLayoutVars>
      </dgm:prSet>
      <dgm:spPr/>
    </dgm:pt>
    <dgm:pt modelId="{F333A5C8-4242-4EC7-9D85-51F928FE1E6E}" type="pres">
      <dgm:prSet presAssocID="{E8CB4DAE-98BD-4672-B24F-868989B72B71}" presName="aSpace2" presStyleCnt="0"/>
      <dgm:spPr/>
    </dgm:pt>
    <dgm:pt modelId="{EB88E731-F1E5-4B2B-8EAB-92AE04FABFFA}" type="pres">
      <dgm:prSet presAssocID="{A70A9CE7-BC45-43A5-8A25-7D984F57D5CD}" presName="childNode" presStyleLbl="node1" presStyleIdx="9" presStyleCnt="12">
        <dgm:presLayoutVars>
          <dgm:bulletEnabled val="1"/>
        </dgm:presLayoutVars>
      </dgm:prSet>
      <dgm:spPr/>
    </dgm:pt>
    <dgm:pt modelId="{FEEBD225-3A92-4A31-82D8-14A8F07EF26C}" type="pres">
      <dgm:prSet presAssocID="{A70A9CE7-BC45-43A5-8A25-7D984F57D5CD}" presName="aSpace2" presStyleCnt="0"/>
      <dgm:spPr/>
    </dgm:pt>
    <dgm:pt modelId="{EC0605B3-F8E6-4777-B051-6D7E8ED0F6F4}" type="pres">
      <dgm:prSet presAssocID="{8DC8E5AD-436D-4933-95DF-F737D36710F4}" presName="childNode" presStyleLbl="node1" presStyleIdx="10" presStyleCnt="12">
        <dgm:presLayoutVars>
          <dgm:bulletEnabled val="1"/>
        </dgm:presLayoutVars>
      </dgm:prSet>
      <dgm:spPr/>
    </dgm:pt>
    <dgm:pt modelId="{0B7E35CA-A7F9-4BC0-99D4-90E08022EA88}" type="pres">
      <dgm:prSet presAssocID="{8DC8E5AD-436D-4933-95DF-F737D36710F4}" presName="aSpace2" presStyleCnt="0"/>
      <dgm:spPr/>
    </dgm:pt>
    <dgm:pt modelId="{1C2D3FF3-FE8E-44E0-9343-D7345896D5DA}" type="pres">
      <dgm:prSet presAssocID="{59085D4A-F6C2-4F5D-BC54-BB619AFD6F41}" presName="childNode" presStyleLbl="node1" presStyleIdx="11" presStyleCnt="12">
        <dgm:presLayoutVars>
          <dgm:bulletEnabled val="1"/>
        </dgm:presLayoutVars>
      </dgm:prSet>
      <dgm:spPr/>
    </dgm:pt>
  </dgm:ptLst>
  <dgm:cxnLst>
    <dgm:cxn modelId="{96679702-DFD9-4242-8D33-B45E3570908A}" type="presOf" srcId="{6BE5B86E-CEB0-4815-A1C0-612CBD1B393C}" destId="{5BE27B71-5FCE-414E-9EDA-917D025947FF}" srcOrd="0" destOrd="0" presId="urn:microsoft.com/office/officeart/2005/8/layout/lProcess2"/>
    <dgm:cxn modelId="{0E912E12-5C98-4469-A486-FCF3445A8AC3}" srcId="{9EDFE61C-4C00-48CA-8F4A-9384474EE43B}" destId="{0C0AE1E2-3C90-48E7-A213-11171D0BA452}" srcOrd="2" destOrd="0" parTransId="{0CAF38A7-FF11-4F90-916B-FC014C85A06C}" sibTransId="{5A7BC652-E1BB-4CAA-896D-60B1C08BA0F1}"/>
    <dgm:cxn modelId="{66B5BA12-84B0-4279-9883-E91E105F4E13}" srcId="{1015935B-4522-4D4E-A8EA-9F33B9D06D0F}" destId="{F79D764E-2CF0-4ABF-870A-78E794F3B80E}" srcOrd="3" destOrd="0" parTransId="{A03F9C46-7CF8-4EA6-8E28-BA2E53BDF550}" sibTransId="{9FBCB7C9-5AA7-4615-AB4D-4F0D5200AE14}"/>
    <dgm:cxn modelId="{D9EF7125-DCE3-4370-A97F-B7FAD0473967}" type="presOf" srcId="{1015935B-4522-4D4E-A8EA-9F33B9D06D0F}" destId="{885B9964-CE2E-455C-93DA-35596FB2EA43}" srcOrd="1" destOrd="0" presId="urn:microsoft.com/office/officeart/2005/8/layout/lProcess2"/>
    <dgm:cxn modelId="{10B48129-4B08-4246-98CD-FFE106BFCBD7}" srcId="{58D1B74E-D0C8-46AA-BD42-23691CB042A1}" destId="{A70A9CE7-BC45-43A5-8A25-7D984F57D5CD}" srcOrd="1" destOrd="0" parTransId="{A4DEF2D7-88E5-4383-B384-3575B3CC166D}" sibTransId="{2FB5E4FF-BF94-4A06-B91F-886DA94F1D6D}"/>
    <dgm:cxn modelId="{2806D239-F5F2-49B9-BD0C-3128E631B3C5}" srcId="{58D1B74E-D0C8-46AA-BD42-23691CB042A1}" destId="{8DC8E5AD-436D-4933-95DF-F737D36710F4}" srcOrd="2" destOrd="0" parTransId="{04A2AC48-6ADC-4782-AD7A-A27D582EA049}" sibTransId="{0C855C25-43C1-4F16-80CE-CFB150EA18A8}"/>
    <dgm:cxn modelId="{8885203C-D019-44D7-88F4-782C5783904E}" srcId="{9EDFE61C-4C00-48CA-8F4A-9384474EE43B}" destId="{61D3007A-A642-4C36-9953-F6F7B9C0BAE1}" srcOrd="1" destOrd="0" parTransId="{0089A1FA-24D4-4939-BC9F-DC205301C243}" sibTransId="{A42397C8-50C1-4CD0-8C9C-A671D8A3E6D5}"/>
    <dgm:cxn modelId="{C89AC85E-9947-4FFD-9561-5071C7A42CB1}" type="presOf" srcId="{9F02383A-3568-427F-B12D-0EC6885F72A2}" destId="{AA48508D-4527-4D3D-BE88-230DCC9A51C0}" srcOrd="0" destOrd="0" presId="urn:microsoft.com/office/officeart/2005/8/layout/lProcess2"/>
    <dgm:cxn modelId="{60055C41-B56B-4BEC-AEEA-4ABE08A1A1F8}" type="presOf" srcId="{93783C74-BC67-4DE6-B284-3A8210CAE074}" destId="{538CAAA2-B43B-49DA-A099-D622A83D4B1E}" srcOrd="0" destOrd="0" presId="urn:microsoft.com/office/officeart/2005/8/layout/lProcess2"/>
    <dgm:cxn modelId="{F9DF8B41-4736-4784-A105-6DE31FCB6CA6}" srcId="{58D1B74E-D0C8-46AA-BD42-23691CB042A1}" destId="{59085D4A-F6C2-4F5D-BC54-BB619AFD6F41}" srcOrd="3" destOrd="0" parTransId="{3D901761-CCE6-4967-8AEE-8797281613D2}" sibTransId="{6DB2A916-B261-40CF-9CDF-34F833DE5D6D}"/>
    <dgm:cxn modelId="{3FDDBC42-0CF2-428B-BD7C-0A2EF0803287}" type="presOf" srcId="{A70A9CE7-BC45-43A5-8A25-7D984F57D5CD}" destId="{EB88E731-F1E5-4B2B-8EAB-92AE04FABFFA}" srcOrd="0" destOrd="0" presId="urn:microsoft.com/office/officeart/2005/8/layout/lProcess2"/>
    <dgm:cxn modelId="{A986D143-ABB0-4FE9-8593-BE3B7B53C997}" type="presOf" srcId="{61D3007A-A642-4C36-9953-F6F7B9C0BAE1}" destId="{E146A5D2-8E14-4510-96CC-E540EB0D1E30}" srcOrd="0" destOrd="0" presId="urn:microsoft.com/office/officeart/2005/8/layout/lProcess2"/>
    <dgm:cxn modelId="{AA1F7A6C-DE2E-4188-A714-8310B4A6CF37}" srcId="{86BBDCE3-5D62-442E-A998-6121FAFAF905}" destId="{9EDFE61C-4C00-48CA-8F4A-9384474EE43B}" srcOrd="0" destOrd="0" parTransId="{2355874F-DF40-467B-80C5-AAF74804210E}" sibTransId="{DA10DE8B-D897-44E6-B678-03244D928959}"/>
    <dgm:cxn modelId="{F5AB1550-BFC6-42BE-B751-2720CB809E16}" srcId="{1015935B-4522-4D4E-A8EA-9F33B9D06D0F}" destId="{6BE5B86E-CEB0-4815-A1C0-612CBD1B393C}" srcOrd="1" destOrd="0" parTransId="{E3737AED-E4A0-4718-9644-A89E92FE3232}" sibTransId="{CBAED2C7-DF27-433C-A16D-7B966769F8F6}"/>
    <dgm:cxn modelId="{BB86A370-B1A6-41C2-8A67-F61957E33D7A}" srcId="{86BBDCE3-5D62-442E-A998-6121FAFAF905}" destId="{58D1B74E-D0C8-46AA-BD42-23691CB042A1}" srcOrd="2" destOrd="0" parTransId="{DFDFB5DF-2FD0-4126-AF13-E7DFE384ACBD}" sibTransId="{C84C8F5A-53FB-45D0-B771-5B32168B38C8}"/>
    <dgm:cxn modelId="{E4850451-AAC4-4D9E-92D8-611C5B501627}" srcId="{1015935B-4522-4D4E-A8EA-9F33B9D06D0F}" destId="{7D6A1F72-74B3-4999-A752-0408826D3583}" srcOrd="0" destOrd="0" parTransId="{F4BF9986-0A1A-40FD-908B-B62C38B106CE}" sibTransId="{344DA550-A9E7-427B-99DC-3B9017A7DDA4}"/>
    <dgm:cxn modelId="{1656EB71-A809-46F0-9DDB-B04B2E7BC7AC}" srcId="{1015935B-4522-4D4E-A8EA-9F33B9D06D0F}" destId="{93783C74-BC67-4DE6-B284-3A8210CAE074}" srcOrd="2" destOrd="0" parTransId="{C6325D95-E86D-452A-8677-F37DEA5B3399}" sibTransId="{54CAFAFF-CCB0-4ED8-BA89-9ECB024544FE}"/>
    <dgm:cxn modelId="{31BB2452-AB7E-46BA-83FC-BB5659DD96FB}" srcId="{58D1B74E-D0C8-46AA-BD42-23691CB042A1}" destId="{E8CB4DAE-98BD-4672-B24F-868989B72B71}" srcOrd="0" destOrd="0" parTransId="{942D2394-4AD2-4FF7-8406-98DBAE40B052}" sibTransId="{614B3778-65A2-4E55-921C-E857932104E5}"/>
    <dgm:cxn modelId="{FB80528B-B128-419B-910C-A317AFE6A7ED}" type="presOf" srcId="{8DC8E5AD-436D-4933-95DF-F737D36710F4}" destId="{EC0605B3-F8E6-4777-B051-6D7E8ED0F6F4}" srcOrd="0" destOrd="0" presId="urn:microsoft.com/office/officeart/2005/8/layout/lProcess2"/>
    <dgm:cxn modelId="{17EC2D92-6288-497B-A3C2-364039F68279}" type="presOf" srcId="{7D6A1F72-74B3-4999-A752-0408826D3583}" destId="{0AC067F6-57AB-4E69-9396-4A78332CB4D5}" srcOrd="0" destOrd="0" presId="urn:microsoft.com/office/officeart/2005/8/layout/lProcess2"/>
    <dgm:cxn modelId="{B72C0FA6-3176-40E3-9957-9CB0BBD40660}" type="presOf" srcId="{E8CB4DAE-98BD-4672-B24F-868989B72B71}" destId="{C37D731A-D5E5-42F0-8D05-C1A93F8A418C}" srcOrd="0" destOrd="0" presId="urn:microsoft.com/office/officeart/2005/8/layout/lProcess2"/>
    <dgm:cxn modelId="{FC38F8BC-0898-4A0A-8AA1-C3A5F647FDE4}" type="presOf" srcId="{B5A8E6A3-9976-49C5-8716-D68EA805F73E}" destId="{391CC963-EDA0-45B4-ADBD-63B78A11D8C2}" srcOrd="0" destOrd="0" presId="urn:microsoft.com/office/officeart/2005/8/layout/lProcess2"/>
    <dgm:cxn modelId="{97A880C1-6802-4310-B6CE-9AC27EEFA991}" type="presOf" srcId="{86BBDCE3-5D62-442E-A998-6121FAFAF905}" destId="{CAF2C802-BCB4-4BB7-94F5-7C21AE8A4266}" srcOrd="0" destOrd="0" presId="urn:microsoft.com/office/officeart/2005/8/layout/lProcess2"/>
    <dgm:cxn modelId="{CBB285C2-9F22-476F-B827-1C449D1CDD8A}" type="presOf" srcId="{F79D764E-2CF0-4ABF-870A-78E794F3B80E}" destId="{3D1B8F16-5E17-4BF0-9F3E-8D54DE7FB20C}" srcOrd="0" destOrd="0" presId="urn:microsoft.com/office/officeart/2005/8/layout/lProcess2"/>
    <dgm:cxn modelId="{A33990C5-87C8-43D6-A8D4-00FBA2329A9C}" type="presOf" srcId="{58D1B74E-D0C8-46AA-BD42-23691CB042A1}" destId="{A905EE99-7192-4970-B006-3B13A651D64A}" srcOrd="0" destOrd="0" presId="urn:microsoft.com/office/officeart/2005/8/layout/lProcess2"/>
    <dgm:cxn modelId="{6ED7D5C8-C914-4085-BC81-55C3C48406EF}" srcId="{86BBDCE3-5D62-442E-A998-6121FAFAF905}" destId="{1015935B-4522-4D4E-A8EA-9F33B9D06D0F}" srcOrd="1" destOrd="0" parTransId="{BB1FAAB4-3262-4345-B224-0F65BD05FA5A}" sibTransId="{799F2CCB-BDC0-4018-B5B3-41325F9E1B5F}"/>
    <dgm:cxn modelId="{A3E87ADF-4293-4AF7-AF81-3F7D3B30E572}" srcId="{9EDFE61C-4C00-48CA-8F4A-9384474EE43B}" destId="{B5A8E6A3-9976-49C5-8716-D68EA805F73E}" srcOrd="0" destOrd="0" parTransId="{375AEBB7-CEDD-4DD6-A785-A558FDB12275}" sibTransId="{63AB965B-E93B-416E-8340-CF3F06405CEE}"/>
    <dgm:cxn modelId="{3F4F43E0-FD4B-4AEA-B6BE-FD9BA8CD8B1E}" srcId="{9EDFE61C-4C00-48CA-8F4A-9384474EE43B}" destId="{9F02383A-3568-427F-B12D-0EC6885F72A2}" srcOrd="3" destOrd="0" parTransId="{04495E0B-B641-4386-87F1-BCAF485E19B1}" sibTransId="{77E4DEA8-C0CC-4D87-95E3-313B7FED3B42}"/>
    <dgm:cxn modelId="{10CA2DE8-FB4C-42FA-9D6D-BA95AFF26094}" type="presOf" srcId="{59085D4A-F6C2-4F5D-BC54-BB619AFD6F41}" destId="{1C2D3FF3-FE8E-44E0-9343-D7345896D5DA}" srcOrd="0" destOrd="0" presId="urn:microsoft.com/office/officeart/2005/8/layout/lProcess2"/>
    <dgm:cxn modelId="{C02125EE-C293-4890-B978-A44ACA0964F8}" type="presOf" srcId="{9EDFE61C-4C00-48CA-8F4A-9384474EE43B}" destId="{7196DDCE-8447-4D6B-AF7D-149BC1D9404C}" srcOrd="0" destOrd="0" presId="urn:microsoft.com/office/officeart/2005/8/layout/lProcess2"/>
    <dgm:cxn modelId="{37BDF1F0-A1DF-49D6-B1EE-5E38D7F525F4}" type="presOf" srcId="{58D1B74E-D0C8-46AA-BD42-23691CB042A1}" destId="{A85542C5-B0CE-4B04-ADE5-C9F2020B1688}" srcOrd="1" destOrd="0" presId="urn:microsoft.com/office/officeart/2005/8/layout/lProcess2"/>
    <dgm:cxn modelId="{FFEEEFF5-E628-4824-9D5D-AD54DC0E9184}" type="presOf" srcId="{0C0AE1E2-3C90-48E7-A213-11171D0BA452}" destId="{56FE68D7-0BB2-4486-8CAF-3DA091ABCAB7}" srcOrd="0" destOrd="0" presId="urn:microsoft.com/office/officeart/2005/8/layout/lProcess2"/>
    <dgm:cxn modelId="{38D05DF9-CB78-4356-A414-5F3BFF1A0C58}" type="presOf" srcId="{9EDFE61C-4C00-48CA-8F4A-9384474EE43B}" destId="{33D38975-2473-452E-9DE3-76A01869D607}" srcOrd="1" destOrd="0" presId="urn:microsoft.com/office/officeart/2005/8/layout/lProcess2"/>
    <dgm:cxn modelId="{120698FB-E3BC-4201-9ED6-C269D0594680}" type="presOf" srcId="{1015935B-4522-4D4E-A8EA-9F33B9D06D0F}" destId="{6348DB21-CCE4-47A2-BB94-5C081455A379}" srcOrd="0" destOrd="0" presId="urn:microsoft.com/office/officeart/2005/8/layout/lProcess2"/>
    <dgm:cxn modelId="{E4DCB77C-8C7B-4349-9F1D-0D5D08798866}" type="presParOf" srcId="{CAF2C802-BCB4-4BB7-94F5-7C21AE8A4266}" destId="{CEEA67DF-C126-45F8-9129-3DBDDAFEDDB6}" srcOrd="0" destOrd="0" presId="urn:microsoft.com/office/officeart/2005/8/layout/lProcess2"/>
    <dgm:cxn modelId="{D139E819-70F9-4969-907C-3777D8ADAF16}" type="presParOf" srcId="{CEEA67DF-C126-45F8-9129-3DBDDAFEDDB6}" destId="{7196DDCE-8447-4D6B-AF7D-149BC1D9404C}" srcOrd="0" destOrd="0" presId="urn:microsoft.com/office/officeart/2005/8/layout/lProcess2"/>
    <dgm:cxn modelId="{AE41CCA5-E942-4345-9068-78DC2589DE29}" type="presParOf" srcId="{CEEA67DF-C126-45F8-9129-3DBDDAFEDDB6}" destId="{33D38975-2473-452E-9DE3-76A01869D607}" srcOrd="1" destOrd="0" presId="urn:microsoft.com/office/officeart/2005/8/layout/lProcess2"/>
    <dgm:cxn modelId="{0B779550-209D-4245-BEA1-454FB293BBBC}" type="presParOf" srcId="{CEEA67DF-C126-45F8-9129-3DBDDAFEDDB6}" destId="{851C7440-4FE8-42A7-B775-4437C4672826}" srcOrd="2" destOrd="0" presId="urn:microsoft.com/office/officeart/2005/8/layout/lProcess2"/>
    <dgm:cxn modelId="{1BF373A8-FF1F-45CB-8AD6-346545D17E30}" type="presParOf" srcId="{851C7440-4FE8-42A7-B775-4437C4672826}" destId="{27E3C4D9-D5C2-422F-AC72-D20534E7D23A}" srcOrd="0" destOrd="0" presId="urn:microsoft.com/office/officeart/2005/8/layout/lProcess2"/>
    <dgm:cxn modelId="{E844B4EF-F30A-4290-8EBD-E47FE93848AB}" type="presParOf" srcId="{27E3C4D9-D5C2-422F-AC72-D20534E7D23A}" destId="{391CC963-EDA0-45B4-ADBD-63B78A11D8C2}" srcOrd="0" destOrd="0" presId="urn:microsoft.com/office/officeart/2005/8/layout/lProcess2"/>
    <dgm:cxn modelId="{3B303DA0-595E-45CC-9B0E-F58A18154617}" type="presParOf" srcId="{27E3C4D9-D5C2-422F-AC72-D20534E7D23A}" destId="{B8449082-260D-4914-A4DD-B2D57F836651}" srcOrd="1" destOrd="0" presId="urn:microsoft.com/office/officeart/2005/8/layout/lProcess2"/>
    <dgm:cxn modelId="{207FAF0D-4C46-4B88-A031-DCA651CB1973}" type="presParOf" srcId="{27E3C4D9-D5C2-422F-AC72-D20534E7D23A}" destId="{E146A5D2-8E14-4510-96CC-E540EB0D1E30}" srcOrd="2" destOrd="0" presId="urn:microsoft.com/office/officeart/2005/8/layout/lProcess2"/>
    <dgm:cxn modelId="{48F91644-D717-47B0-A580-36CB5C6D31AE}" type="presParOf" srcId="{27E3C4D9-D5C2-422F-AC72-D20534E7D23A}" destId="{B9703257-61D8-4074-9A7C-B0FDDB82716B}" srcOrd="3" destOrd="0" presId="urn:microsoft.com/office/officeart/2005/8/layout/lProcess2"/>
    <dgm:cxn modelId="{AA1DC9CE-5556-4534-8CC5-F7F36CF01558}" type="presParOf" srcId="{27E3C4D9-D5C2-422F-AC72-D20534E7D23A}" destId="{56FE68D7-0BB2-4486-8CAF-3DA091ABCAB7}" srcOrd="4" destOrd="0" presId="urn:microsoft.com/office/officeart/2005/8/layout/lProcess2"/>
    <dgm:cxn modelId="{DC93C901-08FC-4459-8D0D-8A1D5E1FDD75}" type="presParOf" srcId="{27E3C4D9-D5C2-422F-AC72-D20534E7D23A}" destId="{F92F832C-9980-4E23-AD7A-7B35B04349F4}" srcOrd="5" destOrd="0" presId="urn:microsoft.com/office/officeart/2005/8/layout/lProcess2"/>
    <dgm:cxn modelId="{1352C3EF-D555-4C7E-B444-9B15643FF0B5}" type="presParOf" srcId="{27E3C4D9-D5C2-422F-AC72-D20534E7D23A}" destId="{AA48508D-4527-4D3D-BE88-230DCC9A51C0}" srcOrd="6" destOrd="0" presId="urn:microsoft.com/office/officeart/2005/8/layout/lProcess2"/>
    <dgm:cxn modelId="{133DFB94-C5C5-4168-8CD4-45589034C21F}" type="presParOf" srcId="{CAF2C802-BCB4-4BB7-94F5-7C21AE8A4266}" destId="{71D85474-6B90-4162-A6BB-2756724EF61A}" srcOrd="1" destOrd="0" presId="urn:microsoft.com/office/officeart/2005/8/layout/lProcess2"/>
    <dgm:cxn modelId="{E328A6DF-D718-49D4-AB5C-2139F37D08A8}" type="presParOf" srcId="{CAF2C802-BCB4-4BB7-94F5-7C21AE8A4266}" destId="{E2B9D198-6984-4873-BD2F-1913C7CFB513}" srcOrd="2" destOrd="0" presId="urn:microsoft.com/office/officeart/2005/8/layout/lProcess2"/>
    <dgm:cxn modelId="{B0293492-D70C-4AFF-A896-CDD4F4051E43}" type="presParOf" srcId="{E2B9D198-6984-4873-BD2F-1913C7CFB513}" destId="{6348DB21-CCE4-47A2-BB94-5C081455A379}" srcOrd="0" destOrd="0" presId="urn:microsoft.com/office/officeart/2005/8/layout/lProcess2"/>
    <dgm:cxn modelId="{21856D50-2CDE-4F86-9399-8AD544E89FE0}" type="presParOf" srcId="{E2B9D198-6984-4873-BD2F-1913C7CFB513}" destId="{885B9964-CE2E-455C-93DA-35596FB2EA43}" srcOrd="1" destOrd="0" presId="urn:microsoft.com/office/officeart/2005/8/layout/lProcess2"/>
    <dgm:cxn modelId="{07BEFBA3-A1F2-42E5-9B82-EC879F59BB9F}" type="presParOf" srcId="{E2B9D198-6984-4873-BD2F-1913C7CFB513}" destId="{7E074B6A-155C-4208-B0BF-F3F0AF0181C1}" srcOrd="2" destOrd="0" presId="urn:microsoft.com/office/officeart/2005/8/layout/lProcess2"/>
    <dgm:cxn modelId="{463E581B-BE42-4AA3-895B-90B0354360A0}" type="presParOf" srcId="{7E074B6A-155C-4208-B0BF-F3F0AF0181C1}" destId="{1036047C-780E-4C70-BD69-832C7E1E991C}" srcOrd="0" destOrd="0" presId="urn:microsoft.com/office/officeart/2005/8/layout/lProcess2"/>
    <dgm:cxn modelId="{0FD870D9-C1E0-4748-B5C4-FA144ECCA3E3}" type="presParOf" srcId="{1036047C-780E-4C70-BD69-832C7E1E991C}" destId="{0AC067F6-57AB-4E69-9396-4A78332CB4D5}" srcOrd="0" destOrd="0" presId="urn:microsoft.com/office/officeart/2005/8/layout/lProcess2"/>
    <dgm:cxn modelId="{FCEE7F8C-BB4D-44CD-8AA0-0FB7FA6EFAB0}" type="presParOf" srcId="{1036047C-780E-4C70-BD69-832C7E1E991C}" destId="{6E7EF37D-F9EC-4B9E-A461-050ECF875134}" srcOrd="1" destOrd="0" presId="urn:microsoft.com/office/officeart/2005/8/layout/lProcess2"/>
    <dgm:cxn modelId="{38F5F1AE-348F-42B9-87DF-1DCAA0E0FCA5}" type="presParOf" srcId="{1036047C-780E-4C70-BD69-832C7E1E991C}" destId="{5BE27B71-5FCE-414E-9EDA-917D025947FF}" srcOrd="2" destOrd="0" presId="urn:microsoft.com/office/officeart/2005/8/layout/lProcess2"/>
    <dgm:cxn modelId="{E69DCCF3-791D-4B92-BE13-443152187A62}" type="presParOf" srcId="{1036047C-780E-4C70-BD69-832C7E1E991C}" destId="{6780832E-0B8E-4E09-951C-FAD6516DD4D3}" srcOrd="3" destOrd="0" presId="urn:microsoft.com/office/officeart/2005/8/layout/lProcess2"/>
    <dgm:cxn modelId="{4B58754A-48D2-431C-B14A-BD30CA5F631E}" type="presParOf" srcId="{1036047C-780E-4C70-BD69-832C7E1E991C}" destId="{538CAAA2-B43B-49DA-A099-D622A83D4B1E}" srcOrd="4" destOrd="0" presId="urn:microsoft.com/office/officeart/2005/8/layout/lProcess2"/>
    <dgm:cxn modelId="{E28E7027-CDC4-43C7-A72A-2DA3854BFD80}" type="presParOf" srcId="{1036047C-780E-4C70-BD69-832C7E1E991C}" destId="{6AF113E2-EA4D-4B9D-854E-2C38C6872168}" srcOrd="5" destOrd="0" presId="urn:microsoft.com/office/officeart/2005/8/layout/lProcess2"/>
    <dgm:cxn modelId="{BC56F192-BEF9-4167-A64A-A8792621BD19}" type="presParOf" srcId="{1036047C-780E-4C70-BD69-832C7E1E991C}" destId="{3D1B8F16-5E17-4BF0-9F3E-8D54DE7FB20C}" srcOrd="6" destOrd="0" presId="urn:microsoft.com/office/officeart/2005/8/layout/lProcess2"/>
    <dgm:cxn modelId="{DE47E272-97ED-4BE2-9D04-39228AE7472A}" type="presParOf" srcId="{CAF2C802-BCB4-4BB7-94F5-7C21AE8A4266}" destId="{86153DFF-1606-4A14-9210-2E54AAE8F20B}" srcOrd="3" destOrd="0" presId="urn:microsoft.com/office/officeart/2005/8/layout/lProcess2"/>
    <dgm:cxn modelId="{C5CA7F89-026C-4B4B-AF83-667EC260EAB4}" type="presParOf" srcId="{CAF2C802-BCB4-4BB7-94F5-7C21AE8A4266}" destId="{3FB04557-69BB-4C8F-B69A-69C5A383A78E}" srcOrd="4" destOrd="0" presId="urn:microsoft.com/office/officeart/2005/8/layout/lProcess2"/>
    <dgm:cxn modelId="{461716E4-016E-420C-8D30-A6C7B33498C3}" type="presParOf" srcId="{3FB04557-69BB-4C8F-B69A-69C5A383A78E}" destId="{A905EE99-7192-4970-B006-3B13A651D64A}" srcOrd="0" destOrd="0" presId="urn:microsoft.com/office/officeart/2005/8/layout/lProcess2"/>
    <dgm:cxn modelId="{7F58BCED-C1F4-4523-AF8D-2946CAB7BDDC}" type="presParOf" srcId="{3FB04557-69BB-4C8F-B69A-69C5A383A78E}" destId="{A85542C5-B0CE-4B04-ADE5-C9F2020B1688}" srcOrd="1" destOrd="0" presId="urn:microsoft.com/office/officeart/2005/8/layout/lProcess2"/>
    <dgm:cxn modelId="{41DE73AE-9FD6-458E-8812-FBF6FB179CB0}" type="presParOf" srcId="{3FB04557-69BB-4C8F-B69A-69C5A383A78E}" destId="{CCCBF0BB-48FD-46AB-B8F3-FDBE5A15A24A}" srcOrd="2" destOrd="0" presId="urn:microsoft.com/office/officeart/2005/8/layout/lProcess2"/>
    <dgm:cxn modelId="{6301EFD1-937E-4F59-9B17-4D220CB36EE7}" type="presParOf" srcId="{CCCBF0BB-48FD-46AB-B8F3-FDBE5A15A24A}" destId="{4E33FC1C-1C58-47D3-ABEF-A12BE5A8A529}" srcOrd="0" destOrd="0" presId="urn:microsoft.com/office/officeart/2005/8/layout/lProcess2"/>
    <dgm:cxn modelId="{E0D01C00-9D7F-4733-AD22-BE4130F312A8}" type="presParOf" srcId="{4E33FC1C-1C58-47D3-ABEF-A12BE5A8A529}" destId="{C37D731A-D5E5-42F0-8D05-C1A93F8A418C}" srcOrd="0" destOrd="0" presId="urn:microsoft.com/office/officeart/2005/8/layout/lProcess2"/>
    <dgm:cxn modelId="{9EF2F78D-8691-426D-8971-A3B0BBC35137}" type="presParOf" srcId="{4E33FC1C-1C58-47D3-ABEF-A12BE5A8A529}" destId="{F333A5C8-4242-4EC7-9D85-51F928FE1E6E}" srcOrd="1" destOrd="0" presId="urn:microsoft.com/office/officeart/2005/8/layout/lProcess2"/>
    <dgm:cxn modelId="{2E3F20D1-DA5D-4F22-97DB-F992DA79194F}" type="presParOf" srcId="{4E33FC1C-1C58-47D3-ABEF-A12BE5A8A529}" destId="{EB88E731-F1E5-4B2B-8EAB-92AE04FABFFA}" srcOrd="2" destOrd="0" presId="urn:microsoft.com/office/officeart/2005/8/layout/lProcess2"/>
    <dgm:cxn modelId="{057A3262-215A-466C-AC23-553B83D0ADC4}" type="presParOf" srcId="{4E33FC1C-1C58-47D3-ABEF-A12BE5A8A529}" destId="{FEEBD225-3A92-4A31-82D8-14A8F07EF26C}" srcOrd="3" destOrd="0" presId="urn:microsoft.com/office/officeart/2005/8/layout/lProcess2"/>
    <dgm:cxn modelId="{A691C223-1A42-42BD-8016-904F72AB513A}" type="presParOf" srcId="{4E33FC1C-1C58-47D3-ABEF-A12BE5A8A529}" destId="{EC0605B3-F8E6-4777-B051-6D7E8ED0F6F4}" srcOrd="4" destOrd="0" presId="urn:microsoft.com/office/officeart/2005/8/layout/lProcess2"/>
    <dgm:cxn modelId="{1B3063B6-C5C5-4A9B-A4B8-F4AA4363606A}" type="presParOf" srcId="{4E33FC1C-1C58-47D3-ABEF-A12BE5A8A529}" destId="{0B7E35CA-A7F9-4BC0-99D4-90E08022EA88}" srcOrd="5" destOrd="0" presId="urn:microsoft.com/office/officeart/2005/8/layout/lProcess2"/>
    <dgm:cxn modelId="{4CFE9F09-14EF-4B6D-93B6-53DFC1579253}" type="presParOf" srcId="{4E33FC1C-1C58-47D3-ABEF-A12BE5A8A529}" destId="{1C2D3FF3-FE8E-44E0-9343-D7345896D5DA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0B66D0C-26C4-4781-8D46-37303C7492B4}" type="doc">
      <dgm:prSet loTypeId="urn:microsoft.com/office/officeart/2005/8/layout/vProcess5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C46265A1-8819-436F-A594-7C129CE4B60E}">
      <dgm:prSet phldrT="[Text]" custT="1"/>
      <dgm:spPr/>
      <dgm:t>
        <a:bodyPr/>
        <a:lstStyle/>
        <a:p>
          <a:pPr algn="ctr"/>
          <a:r>
            <a:rPr lang="en-US" sz="1600" dirty="0"/>
            <a:t>Identify all the NIGO conditions</a:t>
          </a:r>
        </a:p>
      </dgm:t>
    </dgm:pt>
    <dgm:pt modelId="{44F5A546-A80A-45AB-BC1B-87282CB8BFA0}" type="parTrans" cxnId="{7E6995D9-9934-40B9-A76A-D282AADCFAC1}">
      <dgm:prSet/>
      <dgm:spPr/>
      <dgm:t>
        <a:bodyPr/>
        <a:lstStyle/>
        <a:p>
          <a:endParaRPr lang="en-US"/>
        </a:p>
      </dgm:t>
    </dgm:pt>
    <dgm:pt modelId="{AE02C8D0-1C8E-46AA-AEC8-0AC79FC075A3}" type="sibTrans" cxnId="{7E6995D9-9934-40B9-A76A-D282AADCFAC1}">
      <dgm:prSet/>
      <dgm:spPr/>
      <dgm:t>
        <a:bodyPr/>
        <a:lstStyle/>
        <a:p>
          <a:endParaRPr lang="en-US"/>
        </a:p>
      </dgm:t>
    </dgm:pt>
    <dgm:pt modelId="{BCA8C7AD-24C8-40C7-A698-81F9B5C6D62B}">
      <dgm:prSet phldrT="[Text]" custT="1"/>
      <dgm:spPr/>
      <dgm:t>
        <a:bodyPr/>
        <a:lstStyle/>
        <a:p>
          <a:r>
            <a:rPr lang="en-US" sz="1600" dirty="0"/>
            <a:t>Give this list to the gatekeepers</a:t>
          </a:r>
        </a:p>
      </dgm:t>
    </dgm:pt>
    <dgm:pt modelId="{0297DBB4-F289-4F21-B8A7-9CEB56E53013}" type="parTrans" cxnId="{20F0BDAE-A0AF-4DDD-8AA3-9D0CD9ADA39C}">
      <dgm:prSet/>
      <dgm:spPr/>
      <dgm:t>
        <a:bodyPr/>
        <a:lstStyle/>
        <a:p>
          <a:endParaRPr lang="en-US"/>
        </a:p>
      </dgm:t>
    </dgm:pt>
    <dgm:pt modelId="{BCE1E791-3869-47C2-BF07-934832178572}" type="sibTrans" cxnId="{20F0BDAE-A0AF-4DDD-8AA3-9D0CD9ADA39C}">
      <dgm:prSet/>
      <dgm:spPr/>
      <dgm:t>
        <a:bodyPr/>
        <a:lstStyle/>
        <a:p>
          <a:endParaRPr lang="en-US"/>
        </a:p>
      </dgm:t>
    </dgm:pt>
    <dgm:pt modelId="{D063FAD1-3A33-4D43-9E9F-3F9AC99BB16F}">
      <dgm:prSet phldrT="[Text]" custT="1"/>
      <dgm:spPr/>
      <dgm:t>
        <a:bodyPr/>
        <a:lstStyle/>
        <a:p>
          <a:r>
            <a:rPr lang="en-US" sz="1600" dirty="0"/>
            <a:t>Train them to handle NIGOs with the clients</a:t>
          </a:r>
        </a:p>
      </dgm:t>
    </dgm:pt>
    <dgm:pt modelId="{B775FFC8-F677-436F-850D-3F27FEDB286A}" type="parTrans" cxnId="{B471924A-A7D8-46A8-82A0-E016D9A7F648}">
      <dgm:prSet/>
      <dgm:spPr/>
      <dgm:t>
        <a:bodyPr/>
        <a:lstStyle/>
        <a:p>
          <a:endParaRPr lang="en-US"/>
        </a:p>
      </dgm:t>
    </dgm:pt>
    <dgm:pt modelId="{EACA0783-8434-461F-B33C-D709AE77D44E}" type="sibTrans" cxnId="{B471924A-A7D8-46A8-82A0-E016D9A7F648}">
      <dgm:prSet/>
      <dgm:spPr/>
      <dgm:t>
        <a:bodyPr/>
        <a:lstStyle/>
        <a:p>
          <a:endParaRPr lang="en-US"/>
        </a:p>
      </dgm:t>
    </dgm:pt>
    <dgm:pt modelId="{3552DDEA-7A87-47DE-98E3-400CCD162ED0}">
      <dgm:prSet phldrT="[Text]" custT="1"/>
      <dgm:spPr/>
      <dgm:t>
        <a:bodyPr/>
        <a:lstStyle/>
        <a:p>
          <a:r>
            <a:rPr lang="en-US" sz="1500" dirty="0"/>
            <a:t>Prevent the NIGO from transitioning to  the far-end of process</a:t>
          </a:r>
        </a:p>
      </dgm:t>
    </dgm:pt>
    <dgm:pt modelId="{90A630BB-C183-430B-B7AF-C05E2676F6A0}" type="parTrans" cxnId="{9DA64012-4AFD-4D59-931E-E11811A0D6C5}">
      <dgm:prSet/>
      <dgm:spPr/>
      <dgm:t>
        <a:bodyPr/>
        <a:lstStyle/>
        <a:p>
          <a:endParaRPr lang="en-US"/>
        </a:p>
      </dgm:t>
    </dgm:pt>
    <dgm:pt modelId="{872B7A2D-3F76-4059-B0EE-ADDBAB55673F}" type="sibTrans" cxnId="{9DA64012-4AFD-4D59-931E-E11811A0D6C5}">
      <dgm:prSet/>
      <dgm:spPr/>
      <dgm:t>
        <a:bodyPr/>
        <a:lstStyle/>
        <a:p>
          <a:endParaRPr lang="en-US"/>
        </a:p>
      </dgm:t>
    </dgm:pt>
    <dgm:pt modelId="{905FC7EE-E7DE-46A6-9025-22D255AA23CB}">
      <dgm:prSet phldrT="[Text]" custT="1"/>
      <dgm:spPr/>
      <dgm:t>
        <a:bodyPr/>
        <a:lstStyle/>
        <a:p>
          <a:r>
            <a:rPr lang="en-US" sz="1600" dirty="0"/>
            <a:t>Develop quality control measures and SLAs for NIGOs</a:t>
          </a:r>
        </a:p>
      </dgm:t>
    </dgm:pt>
    <dgm:pt modelId="{0B95D56A-67A4-46FA-A459-3F090D83967C}" type="parTrans" cxnId="{C5F42A60-DA50-4996-ACCC-CF31CB6FF2BA}">
      <dgm:prSet/>
      <dgm:spPr/>
      <dgm:t>
        <a:bodyPr/>
        <a:lstStyle/>
        <a:p>
          <a:endParaRPr lang="en-US"/>
        </a:p>
      </dgm:t>
    </dgm:pt>
    <dgm:pt modelId="{DADDCD15-DDB5-4EC7-991F-421369C3A8FF}" type="sibTrans" cxnId="{C5F42A60-DA50-4996-ACCC-CF31CB6FF2BA}">
      <dgm:prSet/>
      <dgm:spPr/>
      <dgm:t>
        <a:bodyPr/>
        <a:lstStyle/>
        <a:p>
          <a:endParaRPr lang="en-US"/>
        </a:p>
      </dgm:t>
    </dgm:pt>
    <dgm:pt modelId="{3B4C7CD2-2DDA-4FC3-98A8-F2D428AAB9AE}" type="pres">
      <dgm:prSet presAssocID="{80B66D0C-26C4-4781-8D46-37303C7492B4}" presName="outerComposite" presStyleCnt="0">
        <dgm:presLayoutVars>
          <dgm:chMax val="5"/>
          <dgm:dir/>
          <dgm:resizeHandles val="exact"/>
        </dgm:presLayoutVars>
      </dgm:prSet>
      <dgm:spPr/>
    </dgm:pt>
    <dgm:pt modelId="{BC42F438-7788-492E-B92F-DB0ABE0F4CC0}" type="pres">
      <dgm:prSet presAssocID="{80B66D0C-26C4-4781-8D46-37303C7492B4}" presName="dummyMaxCanvas" presStyleCnt="0">
        <dgm:presLayoutVars/>
      </dgm:prSet>
      <dgm:spPr/>
    </dgm:pt>
    <dgm:pt modelId="{99D5356C-B085-4290-BA0A-FD90225F3DA0}" type="pres">
      <dgm:prSet presAssocID="{80B66D0C-26C4-4781-8D46-37303C7492B4}" presName="FiveNodes_1" presStyleLbl="node1" presStyleIdx="0" presStyleCnt="5" custLinFactNeighborX="-37418" custLinFactNeighborY="-64550">
        <dgm:presLayoutVars>
          <dgm:bulletEnabled val="1"/>
        </dgm:presLayoutVars>
      </dgm:prSet>
      <dgm:spPr/>
    </dgm:pt>
    <dgm:pt modelId="{591E0B90-9138-4B0B-8219-872608CE1D22}" type="pres">
      <dgm:prSet presAssocID="{80B66D0C-26C4-4781-8D46-37303C7492B4}" presName="FiveNodes_2" presStyleLbl="node1" presStyleIdx="1" presStyleCnt="5">
        <dgm:presLayoutVars>
          <dgm:bulletEnabled val="1"/>
        </dgm:presLayoutVars>
      </dgm:prSet>
      <dgm:spPr/>
    </dgm:pt>
    <dgm:pt modelId="{2668B0B2-3A00-413C-A82A-D64666C7BB68}" type="pres">
      <dgm:prSet presAssocID="{80B66D0C-26C4-4781-8D46-37303C7492B4}" presName="FiveNodes_3" presStyleLbl="node1" presStyleIdx="2" presStyleCnt="5">
        <dgm:presLayoutVars>
          <dgm:bulletEnabled val="1"/>
        </dgm:presLayoutVars>
      </dgm:prSet>
      <dgm:spPr/>
    </dgm:pt>
    <dgm:pt modelId="{5A22B141-D87C-4533-8747-DB8412F0F68A}" type="pres">
      <dgm:prSet presAssocID="{80B66D0C-26C4-4781-8D46-37303C7492B4}" presName="FiveNodes_4" presStyleLbl="node1" presStyleIdx="3" presStyleCnt="5">
        <dgm:presLayoutVars>
          <dgm:bulletEnabled val="1"/>
        </dgm:presLayoutVars>
      </dgm:prSet>
      <dgm:spPr/>
    </dgm:pt>
    <dgm:pt modelId="{2C0AAD04-CC91-4668-879C-FC1F1FDAD911}" type="pres">
      <dgm:prSet presAssocID="{80B66D0C-26C4-4781-8D46-37303C7492B4}" presName="FiveNodes_5" presStyleLbl="node1" presStyleIdx="4" presStyleCnt="5">
        <dgm:presLayoutVars>
          <dgm:bulletEnabled val="1"/>
        </dgm:presLayoutVars>
      </dgm:prSet>
      <dgm:spPr/>
    </dgm:pt>
    <dgm:pt modelId="{3E95010D-3137-480B-BC7D-3338EE475BC5}" type="pres">
      <dgm:prSet presAssocID="{80B66D0C-26C4-4781-8D46-37303C7492B4}" presName="FiveConn_1-2" presStyleLbl="fgAccFollowNode1" presStyleIdx="0" presStyleCnt="4">
        <dgm:presLayoutVars>
          <dgm:bulletEnabled val="1"/>
        </dgm:presLayoutVars>
      </dgm:prSet>
      <dgm:spPr/>
    </dgm:pt>
    <dgm:pt modelId="{D5536C73-0004-4BDE-8BE3-E9B119CA97C1}" type="pres">
      <dgm:prSet presAssocID="{80B66D0C-26C4-4781-8D46-37303C7492B4}" presName="FiveConn_2-3" presStyleLbl="fgAccFollowNode1" presStyleIdx="1" presStyleCnt="4">
        <dgm:presLayoutVars>
          <dgm:bulletEnabled val="1"/>
        </dgm:presLayoutVars>
      </dgm:prSet>
      <dgm:spPr/>
    </dgm:pt>
    <dgm:pt modelId="{2707D492-29A7-449F-8ABF-A645E05384AC}" type="pres">
      <dgm:prSet presAssocID="{80B66D0C-26C4-4781-8D46-37303C7492B4}" presName="FiveConn_3-4" presStyleLbl="fgAccFollowNode1" presStyleIdx="2" presStyleCnt="4">
        <dgm:presLayoutVars>
          <dgm:bulletEnabled val="1"/>
        </dgm:presLayoutVars>
      </dgm:prSet>
      <dgm:spPr/>
    </dgm:pt>
    <dgm:pt modelId="{A6EAFF20-740B-4BE9-9361-BD1A75D8FD55}" type="pres">
      <dgm:prSet presAssocID="{80B66D0C-26C4-4781-8D46-37303C7492B4}" presName="FiveConn_4-5" presStyleLbl="fgAccFollowNode1" presStyleIdx="3" presStyleCnt="4">
        <dgm:presLayoutVars>
          <dgm:bulletEnabled val="1"/>
        </dgm:presLayoutVars>
      </dgm:prSet>
      <dgm:spPr/>
    </dgm:pt>
    <dgm:pt modelId="{D8254CBE-0E93-443A-8CE5-B455BAA207E8}" type="pres">
      <dgm:prSet presAssocID="{80B66D0C-26C4-4781-8D46-37303C7492B4}" presName="FiveNodes_1_text" presStyleLbl="node1" presStyleIdx="4" presStyleCnt="5">
        <dgm:presLayoutVars>
          <dgm:bulletEnabled val="1"/>
        </dgm:presLayoutVars>
      </dgm:prSet>
      <dgm:spPr/>
    </dgm:pt>
    <dgm:pt modelId="{9DB85CE8-E459-4C5D-949D-2C964F2C5E87}" type="pres">
      <dgm:prSet presAssocID="{80B66D0C-26C4-4781-8D46-37303C7492B4}" presName="FiveNodes_2_text" presStyleLbl="node1" presStyleIdx="4" presStyleCnt="5">
        <dgm:presLayoutVars>
          <dgm:bulletEnabled val="1"/>
        </dgm:presLayoutVars>
      </dgm:prSet>
      <dgm:spPr/>
    </dgm:pt>
    <dgm:pt modelId="{AC433C9E-27B1-46C6-B794-6728F8188873}" type="pres">
      <dgm:prSet presAssocID="{80B66D0C-26C4-4781-8D46-37303C7492B4}" presName="FiveNodes_3_text" presStyleLbl="node1" presStyleIdx="4" presStyleCnt="5">
        <dgm:presLayoutVars>
          <dgm:bulletEnabled val="1"/>
        </dgm:presLayoutVars>
      </dgm:prSet>
      <dgm:spPr/>
    </dgm:pt>
    <dgm:pt modelId="{7F604022-B3F6-407C-B76A-05EB485151AE}" type="pres">
      <dgm:prSet presAssocID="{80B66D0C-26C4-4781-8D46-37303C7492B4}" presName="FiveNodes_4_text" presStyleLbl="node1" presStyleIdx="4" presStyleCnt="5">
        <dgm:presLayoutVars>
          <dgm:bulletEnabled val="1"/>
        </dgm:presLayoutVars>
      </dgm:prSet>
      <dgm:spPr/>
    </dgm:pt>
    <dgm:pt modelId="{9344FCC6-1614-4F72-8F60-DB8D66D4469F}" type="pres">
      <dgm:prSet presAssocID="{80B66D0C-26C4-4781-8D46-37303C7492B4}" presName="FiveNodes_5_text" presStyleLbl="node1" presStyleIdx="4" presStyleCnt="5">
        <dgm:presLayoutVars>
          <dgm:bulletEnabled val="1"/>
        </dgm:presLayoutVars>
      </dgm:prSet>
      <dgm:spPr/>
    </dgm:pt>
  </dgm:ptLst>
  <dgm:cxnLst>
    <dgm:cxn modelId="{9DA64012-4AFD-4D59-931E-E11811A0D6C5}" srcId="{80B66D0C-26C4-4781-8D46-37303C7492B4}" destId="{3552DDEA-7A87-47DE-98E3-400CCD162ED0}" srcOrd="3" destOrd="0" parTransId="{90A630BB-C183-430B-B7AF-C05E2676F6A0}" sibTransId="{872B7A2D-3F76-4059-B0EE-ADDBAB55673F}"/>
    <dgm:cxn modelId="{504EEC32-50B8-4D76-9E44-4717166EC9C9}" type="presOf" srcId="{3552DDEA-7A87-47DE-98E3-400CCD162ED0}" destId="{5A22B141-D87C-4533-8747-DB8412F0F68A}" srcOrd="0" destOrd="0" presId="urn:microsoft.com/office/officeart/2005/8/layout/vProcess5"/>
    <dgm:cxn modelId="{88DA1C35-FB12-4584-855B-0521B1C12C26}" type="presOf" srcId="{3552DDEA-7A87-47DE-98E3-400CCD162ED0}" destId="{7F604022-B3F6-407C-B76A-05EB485151AE}" srcOrd="1" destOrd="0" presId="urn:microsoft.com/office/officeart/2005/8/layout/vProcess5"/>
    <dgm:cxn modelId="{776AA336-9482-4265-BBC1-371A4F3A6566}" type="presOf" srcId="{BCA8C7AD-24C8-40C7-A698-81F9B5C6D62B}" destId="{591E0B90-9138-4B0B-8219-872608CE1D22}" srcOrd="0" destOrd="0" presId="urn:microsoft.com/office/officeart/2005/8/layout/vProcess5"/>
    <dgm:cxn modelId="{C5F42A60-DA50-4996-ACCC-CF31CB6FF2BA}" srcId="{80B66D0C-26C4-4781-8D46-37303C7492B4}" destId="{905FC7EE-E7DE-46A6-9025-22D255AA23CB}" srcOrd="4" destOrd="0" parTransId="{0B95D56A-67A4-46FA-A459-3F090D83967C}" sibTransId="{DADDCD15-DDB5-4EC7-991F-421369C3A8FF}"/>
    <dgm:cxn modelId="{B471924A-A7D8-46A8-82A0-E016D9A7F648}" srcId="{80B66D0C-26C4-4781-8D46-37303C7492B4}" destId="{D063FAD1-3A33-4D43-9E9F-3F9AC99BB16F}" srcOrd="2" destOrd="0" parTransId="{B775FFC8-F677-436F-850D-3F27FEDB286A}" sibTransId="{EACA0783-8434-461F-B33C-D709AE77D44E}"/>
    <dgm:cxn modelId="{2E5E384B-B9E0-4897-9A00-FB056247A7ED}" type="presOf" srcId="{D063FAD1-3A33-4D43-9E9F-3F9AC99BB16F}" destId="{2668B0B2-3A00-413C-A82A-D64666C7BB68}" srcOrd="0" destOrd="0" presId="urn:microsoft.com/office/officeart/2005/8/layout/vProcess5"/>
    <dgm:cxn modelId="{48B3654C-0379-4961-A303-11783B5BA087}" type="presOf" srcId="{905FC7EE-E7DE-46A6-9025-22D255AA23CB}" destId="{9344FCC6-1614-4F72-8F60-DB8D66D4469F}" srcOrd="1" destOrd="0" presId="urn:microsoft.com/office/officeart/2005/8/layout/vProcess5"/>
    <dgm:cxn modelId="{C5C1876E-392B-49C3-93E4-ED66EDC44B82}" type="presOf" srcId="{872B7A2D-3F76-4059-B0EE-ADDBAB55673F}" destId="{A6EAFF20-740B-4BE9-9361-BD1A75D8FD55}" srcOrd="0" destOrd="0" presId="urn:microsoft.com/office/officeart/2005/8/layout/vProcess5"/>
    <dgm:cxn modelId="{BA716B57-2D4F-46C2-8E51-ED3A20997097}" type="presOf" srcId="{BCE1E791-3869-47C2-BF07-934832178572}" destId="{D5536C73-0004-4BDE-8BE3-E9B119CA97C1}" srcOrd="0" destOrd="0" presId="urn:microsoft.com/office/officeart/2005/8/layout/vProcess5"/>
    <dgm:cxn modelId="{C94A8B59-C759-41AA-91C1-2C402E885C95}" type="presOf" srcId="{905FC7EE-E7DE-46A6-9025-22D255AA23CB}" destId="{2C0AAD04-CC91-4668-879C-FC1F1FDAD911}" srcOrd="0" destOrd="0" presId="urn:microsoft.com/office/officeart/2005/8/layout/vProcess5"/>
    <dgm:cxn modelId="{5978B28A-1042-4245-A52A-1A5966D9605C}" type="presOf" srcId="{C46265A1-8819-436F-A594-7C129CE4B60E}" destId="{D8254CBE-0E93-443A-8CE5-B455BAA207E8}" srcOrd="1" destOrd="0" presId="urn:microsoft.com/office/officeart/2005/8/layout/vProcess5"/>
    <dgm:cxn modelId="{BED5549D-C045-4BAA-993C-A915BD9926FF}" type="presOf" srcId="{AE02C8D0-1C8E-46AA-AEC8-0AC79FC075A3}" destId="{3E95010D-3137-480B-BC7D-3338EE475BC5}" srcOrd="0" destOrd="0" presId="urn:microsoft.com/office/officeart/2005/8/layout/vProcess5"/>
    <dgm:cxn modelId="{E30478AD-9590-4A50-A962-2211805826AA}" type="presOf" srcId="{EACA0783-8434-461F-B33C-D709AE77D44E}" destId="{2707D492-29A7-449F-8ABF-A645E05384AC}" srcOrd="0" destOrd="0" presId="urn:microsoft.com/office/officeart/2005/8/layout/vProcess5"/>
    <dgm:cxn modelId="{B413E8AD-5A19-405D-BEA3-5E8220D3A0FB}" type="presOf" srcId="{BCA8C7AD-24C8-40C7-A698-81F9B5C6D62B}" destId="{9DB85CE8-E459-4C5D-949D-2C964F2C5E87}" srcOrd="1" destOrd="0" presId="urn:microsoft.com/office/officeart/2005/8/layout/vProcess5"/>
    <dgm:cxn modelId="{20F0BDAE-A0AF-4DDD-8AA3-9D0CD9ADA39C}" srcId="{80B66D0C-26C4-4781-8D46-37303C7492B4}" destId="{BCA8C7AD-24C8-40C7-A698-81F9B5C6D62B}" srcOrd="1" destOrd="0" parTransId="{0297DBB4-F289-4F21-B8A7-9CEB56E53013}" sibTransId="{BCE1E791-3869-47C2-BF07-934832178572}"/>
    <dgm:cxn modelId="{6A7318C6-7F12-41C1-8267-2347489A8196}" type="presOf" srcId="{C46265A1-8819-436F-A594-7C129CE4B60E}" destId="{99D5356C-B085-4290-BA0A-FD90225F3DA0}" srcOrd="0" destOrd="0" presId="urn:microsoft.com/office/officeart/2005/8/layout/vProcess5"/>
    <dgm:cxn modelId="{7E6995D9-9934-40B9-A76A-D282AADCFAC1}" srcId="{80B66D0C-26C4-4781-8D46-37303C7492B4}" destId="{C46265A1-8819-436F-A594-7C129CE4B60E}" srcOrd="0" destOrd="0" parTransId="{44F5A546-A80A-45AB-BC1B-87282CB8BFA0}" sibTransId="{AE02C8D0-1C8E-46AA-AEC8-0AC79FC075A3}"/>
    <dgm:cxn modelId="{576F5AE2-B034-4AA3-8726-6049417C1D8C}" type="presOf" srcId="{80B66D0C-26C4-4781-8D46-37303C7492B4}" destId="{3B4C7CD2-2DDA-4FC3-98A8-F2D428AAB9AE}" srcOrd="0" destOrd="0" presId="urn:microsoft.com/office/officeart/2005/8/layout/vProcess5"/>
    <dgm:cxn modelId="{60A31CF0-FBD8-4D3B-A44C-6D81112F777C}" type="presOf" srcId="{D063FAD1-3A33-4D43-9E9F-3F9AC99BB16F}" destId="{AC433C9E-27B1-46C6-B794-6728F8188873}" srcOrd="1" destOrd="0" presId="urn:microsoft.com/office/officeart/2005/8/layout/vProcess5"/>
    <dgm:cxn modelId="{D9197505-465B-4F66-8F2C-7E15FD284E42}" type="presParOf" srcId="{3B4C7CD2-2DDA-4FC3-98A8-F2D428AAB9AE}" destId="{BC42F438-7788-492E-B92F-DB0ABE0F4CC0}" srcOrd="0" destOrd="0" presId="urn:microsoft.com/office/officeart/2005/8/layout/vProcess5"/>
    <dgm:cxn modelId="{65F8B20E-F6AD-4615-9585-E0D07B9EA62C}" type="presParOf" srcId="{3B4C7CD2-2DDA-4FC3-98A8-F2D428AAB9AE}" destId="{99D5356C-B085-4290-BA0A-FD90225F3DA0}" srcOrd="1" destOrd="0" presId="urn:microsoft.com/office/officeart/2005/8/layout/vProcess5"/>
    <dgm:cxn modelId="{15C8578F-3996-4F1B-8AD8-2942ED41B71C}" type="presParOf" srcId="{3B4C7CD2-2DDA-4FC3-98A8-F2D428AAB9AE}" destId="{591E0B90-9138-4B0B-8219-872608CE1D22}" srcOrd="2" destOrd="0" presId="urn:microsoft.com/office/officeart/2005/8/layout/vProcess5"/>
    <dgm:cxn modelId="{FD092E99-BD2F-40F2-BE66-26CA513243AD}" type="presParOf" srcId="{3B4C7CD2-2DDA-4FC3-98A8-F2D428AAB9AE}" destId="{2668B0B2-3A00-413C-A82A-D64666C7BB68}" srcOrd="3" destOrd="0" presId="urn:microsoft.com/office/officeart/2005/8/layout/vProcess5"/>
    <dgm:cxn modelId="{8145D837-BBA7-4BD4-8DB2-26B3904DE291}" type="presParOf" srcId="{3B4C7CD2-2DDA-4FC3-98A8-F2D428AAB9AE}" destId="{5A22B141-D87C-4533-8747-DB8412F0F68A}" srcOrd="4" destOrd="0" presId="urn:microsoft.com/office/officeart/2005/8/layout/vProcess5"/>
    <dgm:cxn modelId="{0A28B311-9CD2-4EBA-9A61-262730A48F50}" type="presParOf" srcId="{3B4C7CD2-2DDA-4FC3-98A8-F2D428AAB9AE}" destId="{2C0AAD04-CC91-4668-879C-FC1F1FDAD911}" srcOrd="5" destOrd="0" presId="urn:microsoft.com/office/officeart/2005/8/layout/vProcess5"/>
    <dgm:cxn modelId="{406735CE-3A90-42E5-B7BA-32343DA50164}" type="presParOf" srcId="{3B4C7CD2-2DDA-4FC3-98A8-F2D428AAB9AE}" destId="{3E95010D-3137-480B-BC7D-3338EE475BC5}" srcOrd="6" destOrd="0" presId="urn:microsoft.com/office/officeart/2005/8/layout/vProcess5"/>
    <dgm:cxn modelId="{E8516E0A-00E6-43B4-8F9F-B74C14159B80}" type="presParOf" srcId="{3B4C7CD2-2DDA-4FC3-98A8-F2D428AAB9AE}" destId="{D5536C73-0004-4BDE-8BE3-E9B119CA97C1}" srcOrd="7" destOrd="0" presId="urn:microsoft.com/office/officeart/2005/8/layout/vProcess5"/>
    <dgm:cxn modelId="{E716577C-1D12-408F-975E-4064F0E80445}" type="presParOf" srcId="{3B4C7CD2-2DDA-4FC3-98A8-F2D428AAB9AE}" destId="{2707D492-29A7-449F-8ABF-A645E05384AC}" srcOrd="8" destOrd="0" presId="urn:microsoft.com/office/officeart/2005/8/layout/vProcess5"/>
    <dgm:cxn modelId="{AF43B77E-4896-4D49-892A-50AE3A5767F4}" type="presParOf" srcId="{3B4C7CD2-2DDA-4FC3-98A8-F2D428AAB9AE}" destId="{A6EAFF20-740B-4BE9-9361-BD1A75D8FD55}" srcOrd="9" destOrd="0" presId="urn:microsoft.com/office/officeart/2005/8/layout/vProcess5"/>
    <dgm:cxn modelId="{959E1075-8D42-490C-9EE5-8EACCD4F3F2D}" type="presParOf" srcId="{3B4C7CD2-2DDA-4FC3-98A8-F2D428AAB9AE}" destId="{D8254CBE-0E93-443A-8CE5-B455BAA207E8}" srcOrd="10" destOrd="0" presId="urn:microsoft.com/office/officeart/2005/8/layout/vProcess5"/>
    <dgm:cxn modelId="{86DBACBA-5D21-403C-86E0-FA707A148DDD}" type="presParOf" srcId="{3B4C7CD2-2DDA-4FC3-98A8-F2D428AAB9AE}" destId="{9DB85CE8-E459-4C5D-949D-2C964F2C5E87}" srcOrd="11" destOrd="0" presId="urn:microsoft.com/office/officeart/2005/8/layout/vProcess5"/>
    <dgm:cxn modelId="{2360A0B4-75BB-4487-BEE4-B00402D5EC46}" type="presParOf" srcId="{3B4C7CD2-2DDA-4FC3-98A8-F2D428AAB9AE}" destId="{AC433C9E-27B1-46C6-B794-6728F8188873}" srcOrd="12" destOrd="0" presId="urn:microsoft.com/office/officeart/2005/8/layout/vProcess5"/>
    <dgm:cxn modelId="{2CAFEACC-0D48-40B3-B150-C663D30DF1C4}" type="presParOf" srcId="{3B4C7CD2-2DDA-4FC3-98A8-F2D428AAB9AE}" destId="{7F604022-B3F6-407C-B76A-05EB485151AE}" srcOrd="13" destOrd="0" presId="urn:microsoft.com/office/officeart/2005/8/layout/vProcess5"/>
    <dgm:cxn modelId="{C972DB6B-3CEB-4F5C-95A3-E1666505744D}" type="presParOf" srcId="{3B4C7CD2-2DDA-4FC3-98A8-F2D428AAB9AE}" destId="{9344FCC6-1614-4F72-8F60-DB8D66D4469F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96DDCE-8447-4D6B-AF7D-149BC1D9404C}">
      <dsp:nvSpPr>
        <dsp:cNvPr id="0" name=""/>
        <dsp:cNvSpPr/>
      </dsp:nvSpPr>
      <dsp:spPr>
        <a:xfrm>
          <a:off x="950" y="0"/>
          <a:ext cx="2471428" cy="3486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</a:rPr>
            <a:t>Hardship withdrawals</a:t>
          </a:r>
        </a:p>
      </dsp:txBody>
      <dsp:txXfrm>
        <a:off x="950" y="0"/>
        <a:ext cx="2471428" cy="1046098"/>
      </dsp:txXfrm>
    </dsp:sp>
    <dsp:sp modelId="{391CC963-EDA0-45B4-ADBD-63B78A11D8C2}">
      <dsp:nvSpPr>
        <dsp:cNvPr id="0" name=""/>
        <dsp:cNvSpPr/>
      </dsp:nvSpPr>
      <dsp:spPr>
        <a:xfrm>
          <a:off x="248093" y="1046183"/>
          <a:ext cx="1977142" cy="5079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000000"/>
              </a:solidFill>
            </a:rPr>
            <a:t>Missing Withdrawal amount</a:t>
          </a:r>
        </a:p>
      </dsp:txBody>
      <dsp:txXfrm>
        <a:off x="262971" y="1061061"/>
        <a:ext cx="1947386" cy="478224"/>
      </dsp:txXfrm>
    </dsp:sp>
    <dsp:sp modelId="{E146A5D2-8E14-4510-96CC-E540EB0D1E30}">
      <dsp:nvSpPr>
        <dsp:cNvPr id="0" name=""/>
        <dsp:cNvSpPr/>
      </dsp:nvSpPr>
      <dsp:spPr>
        <a:xfrm>
          <a:off x="248093" y="1632315"/>
          <a:ext cx="1977142" cy="5079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000000"/>
              </a:solidFill>
            </a:rPr>
            <a:t>Multiple/NO hardship reason selected</a:t>
          </a:r>
        </a:p>
      </dsp:txBody>
      <dsp:txXfrm>
        <a:off x="262971" y="1647193"/>
        <a:ext cx="1947386" cy="478224"/>
      </dsp:txXfrm>
    </dsp:sp>
    <dsp:sp modelId="{56FE68D7-0BB2-4486-8CAF-3DA091ABCAB7}">
      <dsp:nvSpPr>
        <dsp:cNvPr id="0" name=""/>
        <dsp:cNvSpPr/>
      </dsp:nvSpPr>
      <dsp:spPr>
        <a:xfrm>
          <a:off x="248093" y="2218446"/>
          <a:ext cx="1977142" cy="5079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000000"/>
              </a:solidFill>
            </a:rPr>
            <a:t>Missing PA signatures</a:t>
          </a:r>
        </a:p>
      </dsp:txBody>
      <dsp:txXfrm>
        <a:off x="262971" y="2233324"/>
        <a:ext cx="1947386" cy="478224"/>
      </dsp:txXfrm>
    </dsp:sp>
    <dsp:sp modelId="{AA48508D-4527-4D3D-BE88-230DCC9A51C0}">
      <dsp:nvSpPr>
        <dsp:cNvPr id="0" name=""/>
        <dsp:cNvSpPr/>
      </dsp:nvSpPr>
      <dsp:spPr>
        <a:xfrm>
          <a:off x="248093" y="2804578"/>
          <a:ext cx="1977142" cy="5079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000000"/>
            </a:solidFill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000000"/>
              </a:solidFill>
            </a:rPr>
            <a:t>Unclear or invalid Participant Address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rgbClr val="000000"/>
            </a:solidFill>
          </a:endParaRPr>
        </a:p>
      </dsp:txBody>
      <dsp:txXfrm>
        <a:off x="262971" y="2819456"/>
        <a:ext cx="1947386" cy="478224"/>
      </dsp:txXfrm>
    </dsp:sp>
    <dsp:sp modelId="{6348DB21-CCE4-47A2-BB94-5C081455A379}">
      <dsp:nvSpPr>
        <dsp:cNvPr id="0" name=""/>
        <dsp:cNvSpPr/>
      </dsp:nvSpPr>
      <dsp:spPr>
        <a:xfrm>
          <a:off x="2657735" y="0"/>
          <a:ext cx="2471428" cy="3486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</a:rPr>
            <a:t>Broker Change Forms</a:t>
          </a:r>
        </a:p>
      </dsp:txBody>
      <dsp:txXfrm>
        <a:off x="2657735" y="0"/>
        <a:ext cx="2471428" cy="1046098"/>
      </dsp:txXfrm>
    </dsp:sp>
    <dsp:sp modelId="{0AC067F6-57AB-4E69-9396-4A78332CB4D5}">
      <dsp:nvSpPr>
        <dsp:cNvPr id="0" name=""/>
        <dsp:cNvSpPr/>
      </dsp:nvSpPr>
      <dsp:spPr>
        <a:xfrm>
          <a:off x="2904878" y="1046183"/>
          <a:ext cx="1977142" cy="5079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24765" rIns="33020" bIns="2476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rgbClr val="000000"/>
              </a:solidFill>
            </a:rPr>
            <a:t>Missing SSN</a:t>
          </a:r>
        </a:p>
      </dsp:txBody>
      <dsp:txXfrm>
        <a:off x="2919756" y="1061061"/>
        <a:ext cx="1947386" cy="478224"/>
      </dsp:txXfrm>
    </dsp:sp>
    <dsp:sp modelId="{5BE27B71-5FCE-414E-9EDA-917D025947FF}">
      <dsp:nvSpPr>
        <dsp:cNvPr id="0" name=""/>
        <dsp:cNvSpPr/>
      </dsp:nvSpPr>
      <dsp:spPr>
        <a:xfrm>
          <a:off x="2904878" y="1632315"/>
          <a:ext cx="1977142" cy="5079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24765" rIns="33020" bIns="2476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rgbClr val="000000"/>
              </a:solidFill>
            </a:rPr>
            <a:t>Didn’t choose one of the Agent options</a:t>
          </a:r>
        </a:p>
      </dsp:txBody>
      <dsp:txXfrm>
        <a:off x="2919756" y="1647193"/>
        <a:ext cx="1947386" cy="478224"/>
      </dsp:txXfrm>
    </dsp:sp>
    <dsp:sp modelId="{538CAAA2-B43B-49DA-A099-D622A83D4B1E}">
      <dsp:nvSpPr>
        <dsp:cNvPr id="0" name=""/>
        <dsp:cNvSpPr/>
      </dsp:nvSpPr>
      <dsp:spPr>
        <a:xfrm>
          <a:off x="2904878" y="2218446"/>
          <a:ext cx="1977142" cy="5079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24765" rIns="33020" bIns="2476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rgbClr val="000000"/>
              </a:solidFill>
            </a:rPr>
            <a:t>Missing or Illegible Branch ID or Rep ID</a:t>
          </a:r>
        </a:p>
      </dsp:txBody>
      <dsp:txXfrm>
        <a:off x="2919756" y="2233324"/>
        <a:ext cx="1947386" cy="478224"/>
      </dsp:txXfrm>
    </dsp:sp>
    <dsp:sp modelId="{3D1B8F16-5E17-4BF0-9F3E-8D54DE7FB20C}">
      <dsp:nvSpPr>
        <dsp:cNvPr id="0" name=""/>
        <dsp:cNvSpPr/>
      </dsp:nvSpPr>
      <dsp:spPr>
        <a:xfrm>
          <a:off x="2904878" y="2804578"/>
          <a:ext cx="1977142" cy="5079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24765" rIns="33020" bIns="2476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rgbClr val="000000"/>
              </a:solidFill>
            </a:rPr>
            <a:t>Multiple Agents’, Partners’ Name or Team name</a:t>
          </a:r>
        </a:p>
      </dsp:txBody>
      <dsp:txXfrm>
        <a:off x="2919756" y="2819456"/>
        <a:ext cx="1947386" cy="478224"/>
      </dsp:txXfrm>
    </dsp:sp>
    <dsp:sp modelId="{A905EE99-7192-4970-B006-3B13A651D64A}">
      <dsp:nvSpPr>
        <dsp:cNvPr id="0" name=""/>
        <dsp:cNvSpPr/>
      </dsp:nvSpPr>
      <dsp:spPr>
        <a:xfrm>
          <a:off x="5314521" y="0"/>
          <a:ext cx="2471428" cy="3486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</a:rPr>
            <a:t>Death Benefits</a:t>
          </a:r>
        </a:p>
      </dsp:txBody>
      <dsp:txXfrm>
        <a:off x="5314521" y="0"/>
        <a:ext cx="2471428" cy="1046098"/>
      </dsp:txXfrm>
    </dsp:sp>
    <dsp:sp modelId="{C37D731A-D5E5-42F0-8D05-C1A93F8A418C}">
      <dsp:nvSpPr>
        <dsp:cNvPr id="0" name=""/>
        <dsp:cNvSpPr/>
      </dsp:nvSpPr>
      <dsp:spPr>
        <a:xfrm>
          <a:off x="5561664" y="1046183"/>
          <a:ext cx="1977142" cy="5079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24765" rIns="33020" bIns="2476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rgbClr val="000000"/>
              </a:solidFill>
            </a:rPr>
            <a:t>Contribution Rate must be whole number</a:t>
          </a:r>
        </a:p>
      </dsp:txBody>
      <dsp:txXfrm>
        <a:off x="5576542" y="1061061"/>
        <a:ext cx="1947386" cy="478224"/>
      </dsp:txXfrm>
    </dsp:sp>
    <dsp:sp modelId="{EB88E731-F1E5-4B2B-8EAB-92AE04FABFFA}">
      <dsp:nvSpPr>
        <dsp:cNvPr id="0" name=""/>
        <dsp:cNvSpPr/>
      </dsp:nvSpPr>
      <dsp:spPr>
        <a:xfrm>
          <a:off x="5561664" y="1632315"/>
          <a:ext cx="1977142" cy="5079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24765" rIns="33020" bIns="2476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rgbClr val="000000"/>
              </a:solidFill>
            </a:rPr>
            <a:t>Missing Date of Birth of beneficiary </a:t>
          </a:r>
        </a:p>
      </dsp:txBody>
      <dsp:txXfrm>
        <a:off x="5576542" y="1647193"/>
        <a:ext cx="1947386" cy="478224"/>
      </dsp:txXfrm>
    </dsp:sp>
    <dsp:sp modelId="{EC0605B3-F8E6-4777-B051-6D7E8ED0F6F4}">
      <dsp:nvSpPr>
        <dsp:cNvPr id="0" name=""/>
        <dsp:cNvSpPr/>
      </dsp:nvSpPr>
      <dsp:spPr>
        <a:xfrm>
          <a:off x="5561664" y="2218446"/>
          <a:ext cx="1977142" cy="5079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24765" rIns="33020" bIns="2476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rgbClr val="000000"/>
              </a:solidFill>
            </a:rPr>
            <a:t>Missing choice of fund distribution election</a:t>
          </a:r>
        </a:p>
      </dsp:txBody>
      <dsp:txXfrm>
        <a:off x="5576542" y="2233324"/>
        <a:ext cx="1947386" cy="478224"/>
      </dsp:txXfrm>
    </dsp:sp>
    <dsp:sp modelId="{1C2D3FF3-FE8E-44E0-9343-D7345896D5DA}">
      <dsp:nvSpPr>
        <dsp:cNvPr id="0" name=""/>
        <dsp:cNvSpPr/>
      </dsp:nvSpPr>
      <dsp:spPr>
        <a:xfrm>
          <a:off x="5561664" y="2804578"/>
          <a:ext cx="1977142" cy="5079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24765" rIns="33020" bIns="2476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rgbClr val="000000"/>
              </a:solidFill>
            </a:rPr>
            <a:t>Missing Relationship to deceased</a:t>
          </a:r>
        </a:p>
      </dsp:txBody>
      <dsp:txXfrm>
        <a:off x="5576542" y="2819456"/>
        <a:ext cx="1947386" cy="47822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D5356C-B085-4290-BA0A-FD90225F3DA0}">
      <dsp:nvSpPr>
        <dsp:cNvPr id="0" name=""/>
        <dsp:cNvSpPr/>
      </dsp:nvSpPr>
      <dsp:spPr>
        <a:xfrm>
          <a:off x="0" y="0"/>
          <a:ext cx="3810565" cy="605111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Identify all the NIGO conditions</a:t>
          </a:r>
        </a:p>
      </dsp:txBody>
      <dsp:txXfrm>
        <a:off x="17723" y="17723"/>
        <a:ext cx="3086804" cy="569665"/>
      </dsp:txXfrm>
    </dsp:sp>
    <dsp:sp modelId="{591E0B90-9138-4B0B-8219-872608CE1D22}">
      <dsp:nvSpPr>
        <dsp:cNvPr id="0" name=""/>
        <dsp:cNvSpPr/>
      </dsp:nvSpPr>
      <dsp:spPr>
        <a:xfrm>
          <a:off x="284555" y="689155"/>
          <a:ext cx="3810565" cy="605111"/>
        </a:xfrm>
        <a:prstGeom prst="roundRect">
          <a:avLst>
            <a:gd name="adj" fmla="val 10000"/>
          </a:avLst>
        </a:prstGeom>
        <a:solidFill>
          <a:schemeClr val="accent3">
            <a:hueOff val="677650"/>
            <a:satOff val="25000"/>
            <a:lumOff val="-36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Give this list to the gatekeepers</a:t>
          </a:r>
        </a:p>
      </dsp:txBody>
      <dsp:txXfrm>
        <a:off x="302278" y="706878"/>
        <a:ext cx="3097241" cy="569665"/>
      </dsp:txXfrm>
    </dsp:sp>
    <dsp:sp modelId="{2668B0B2-3A00-413C-A82A-D64666C7BB68}">
      <dsp:nvSpPr>
        <dsp:cNvPr id="0" name=""/>
        <dsp:cNvSpPr/>
      </dsp:nvSpPr>
      <dsp:spPr>
        <a:xfrm>
          <a:off x="569110" y="1378310"/>
          <a:ext cx="3810565" cy="605111"/>
        </a:xfrm>
        <a:prstGeom prst="roundRect">
          <a:avLst>
            <a:gd name="adj" fmla="val 10000"/>
          </a:avLst>
        </a:prstGeom>
        <a:solidFill>
          <a:schemeClr val="accent3">
            <a:hueOff val="1355300"/>
            <a:satOff val="50000"/>
            <a:lumOff val="-735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rain them to handle NIGOs with the clients</a:t>
          </a:r>
        </a:p>
      </dsp:txBody>
      <dsp:txXfrm>
        <a:off x="586833" y="1396033"/>
        <a:ext cx="3097241" cy="569665"/>
      </dsp:txXfrm>
    </dsp:sp>
    <dsp:sp modelId="{5A22B141-D87C-4533-8747-DB8412F0F68A}">
      <dsp:nvSpPr>
        <dsp:cNvPr id="0" name=""/>
        <dsp:cNvSpPr/>
      </dsp:nvSpPr>
      <dsp:spPr>
        <a:xfrm>
          <a:off x="853665" y="2067465"/>
          <a:ext cx="3810565" cy="605111"/>
        </a:xfrm>
        <a:prstGeom prst="roundRect">
          <a:avLst>
            <a:gd name="adj" fmla="val 10000"/>
          </a:avLst>
        </a:prstGeom>
        <a:solidFill>
          <a:schemeClr val="accent3">
            <a:hueOff val="2032949"/>
            <a:satOff val="75000"/>
            <a:lumOff val="-1102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Prevent the NIGO from transitioning to  the far-end of process</a:t>
          </a:r>
        </a:p>
      </dsp:txBody>
      <dsp:txXfrm>
        <a:off x="871388" y="2085188"/>
        <a:ext cx="3097241" cy="569665"/>
      </dsp:txXfrm>
    </dsp:sp>
    <dsp:sp modelId="{2C0AAD04-CC91-4668-879C-FC1F1FDAD911}">
      <dsp:nvSpPr>
        <dsp:cNvPr id="0" name=""/>
        <dsp:cNvSpPr/>
      </dsp:nvSpPr>
      <dsp:spPr>
        <a:xfrm>
          <a:off x="1138220" y="2756620"/>
          <a:ext cx="3810565" cy="605111"/>
        </a:xfrm>
        <a:prstGeom prst="roundRect">
          <a:avLst>
            <a:gd name="adj" fmla="val 10000"/>
          </a:avLst>
        </a:prstGeom>
        <a:solidFill>
          <a:schemeClr val="accent3">
            <a:hueOff val="2710599"/>
            <a:satOff val="100000"/>
            <a:lumOff val="-1470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Develop quality control measures and SLAs for NIGOs</a:t>
          </a:r>
        </a:p>
      </dsp:txBody>
      <dsp:txXfrm>
        <a:off x="1155943" y="2774343"/>
        <a:ext cx="3097241" cy="569665"/>
      </dsp:txXfrm>
    </dsp:sp>
    <dsp:sp modelId="{3E95010D-3137-480B-BC7D-3338EE475BC5}">
      <dsp:nvSpPr>
        <dsp:cNvPr id="0" name=""/>
        <dsp:cNvSpPr/>
      </dsp:nvSpPr>
      <dsp:spPr>
        <a:xfrm>
          <a:off x="3417242" y="442067"/>
          <a:ext cx="393322" cy="393322"/>
        </a:xfrm>
        <a:prstGeom prst="downArrow">
          <a:avLst>
            <a:gd name="adj1" fmla="val 55000"/>
            <a:gd name="adj2" fmla="val 45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/>
        </a:p>
      </dsp:txBody>
      <dsp:txXfrm>
        <a:off x="3505739" y="442067"/>
        <a:ext cx="216328" cy="295975"/>
      </dsp:txXfrm>
    </dsp:sp>
    <dsp:sp modelId="{D5536C73-0004-4BDE-8BE3-E9B119CA97C1}">
      <dsp:nvSpPr>
        <dsp:cNvPr id="0" name=""/>
        <dsp:cNvSpPr/>
      </dsp:nvSpPr>
      <dsp:spPr>
        <a:xfrm>
          <a:off x="3701797" y="1131222"/>
          <a:ext cx="393322" cy="393322"/>
        </a:xfrm>
        <a:prstGeom prst="downArrow">
          <a:avLst>
            <a:gd name="adj1" fmla="val 55000"/>
            <a:gd name="adj2" fmla="val 45000"/>
          </a:avLst>
        </a:prstGeom>
        <a:solidFill>
          <a:schemeClr val="accent3">
            <a:tint val="40000"/>
            <a:alpha val="90000"/>
            <a:hueOff val="676380"/>
            <a:satOff val="33333"/>
            <a:lumOff val="593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676380"/>
              <a:satOff val="33333"/>
              <a:lumOff val="59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/>
        </a:p>
      </dsp:txBody>
      <dsp:txXfrm>
        <a:off x="3790294" y="1131222"/>
        <a:ext cx="216328" cy="295975"/>
      </dsp:txXfrm>
    </dsp:sp>
    <dsp:sp modelId="{2707D492-29A7-449F-8ABF-A645E05384AC}">
      <dsp:nvSpPr>
        <dsp:cNvPr id="0" name=""/>
        <dsp:cNvSpPr/>
      </dsp:nvSpPr>
      <dsp:spPr>
        <a:xfrm>
          <a:off x="3986352" y="1810292"/>
          <a:ext cx="393322" cy="393322"/>
        </a:xfrm>
        <a:prstGeom prst="downArrow">
          <a:avLst>
            <a:gd name="adj1" fmla="val 55000"/>
            <a:gd name="adj2" fmla="val 45000"/>
          </a:avLst>
        </a:prstGeom>
        <a:solidFill>
          <a:schemeClr val="accent3">
            <a:tint val="40000"/>
            <a:alpha val="90000"/>
            <a:hueOff val="1352761"/>
            <a:satOff val="66667"/>
            <a:lumOff val="1186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1352761"/>
              <a:satOff val="66667"/>
              <a:lumOff val="118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/>
        </a:p>
      </dsp:txBody>
      <dsp:txXfrm>
        <a:off x="4074849" y="1810292"/>
        <a:ext cx="216328" cy="295975"/>
      </dsp:txXfrm>
    </dsp:sp>
    <dsp:sp modelId="{A6EAFF20-740B-4BE9-9361-BD1A75D8FD55}">
      <dsp:nvSpPr>
        <dsp:cNvPr id="0" name=""/>
        <dsp:cNvSpPr/>
      </dsp:nvSpPr>
      <dsp:spPr>
        <a:xfrm>
          <a:off x="4270908" y="2506171"/>
          <a:ext cx="393322" cy="393322"/>
        </a:xfrm>
        <a:prstGeom prst="downArrow">
          <a:avLst>
            <a:gd name="adj1" fmla="val 55000"/>
            <a:gd name="adj2" fmla="val 45000"/>
          </a:avLst>
        </a:prstGeom>
        <a:solidFill>
          <a:schemeClr val="accent3">
            <a:tint val="40000"/>
            <a:alpha val="90000"/>
            <a:hueOff val="2029141"/>
            <a:satOff val="100000"/>
            <a:lumOff val="1779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2029141"/>
              <a:satOff val="100000"/>
              <a:lumOff val="177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/>
        </a:p>
      </dsp:txBody>
      <dsp:txXfrm>
        <a:off x="4359405" y="2506171"/>
        <a:ext cx="216328" cy="2959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A730FF-6396-41EA-A979-A8584B8E29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8BBEBD-DCDD-4EE5-8594-2D9B2C69D5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1B12AA-FC03-4482-B31F-1A00C4BF4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89842-E643-480B-AFA1-44A52F6B97B7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EABEB6-EB96-47E7-8837-998ACFF75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3AF5F0-5166-438C-9550-B6E06605FC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D8CAF-D3C7-4192-AA24-2B5550F7D8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8286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70471-FD57-4CD0-B5F2-2C7255E29F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10B707-C905-45DC-AC2E-B39743273D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1AF1E-FED0-4D8A-9213-1295364A70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89842-E643-480B-AFA1-44A52F6B97B7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EC1CF6-0B2C-4BB5-9E06-C3C80CFF66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2E781-3D3A-4BA0-BAC1-D1DA5F815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D8CAF-D3C7-4192-AA24-2B5550F7D8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4452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FFADB84-2A53-4E54-A230-E27B2E09155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5AEEAE-EE03-4343-B92C-E1427BD18B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B086C3-795F-4CD1-961B-7B7D219358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89842-E643-480B-AFA1-44A52F6B97B7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B3189E-06BA-4090-ADCC-B561A285B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17D333-2880-4C0E-9990-ED504F7FE1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D8CAF-D3C7-4192-AA24-2B5550F7D8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4881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31076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9BD35E-98C7-4206-80BA-F6A3C6A2D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910CEC-DFD8-4695-8017-405850351A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B1998B-2CE5-4305-8F89-4F29E60692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89842-E643-480B-AFA1-44A52F6B97B7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E94BB5-5A72-45DC-BD2A-02DCEAA99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D094F-2E03-4EE9-ABBA-CD299822C8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D8CAF-D3C7-4192-AA24-2B5550F7D8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7408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1440AD-8413-44A5-A8E3-A51A4F174C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CB89BE-C9FD-4A0B-A2A3-A41CE3CED5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E08BBF-A762-45F4-8428-1EAEB9585F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89842-E643-480B-AFA1-44A52F6B97B7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A4ADBF-0E12-41A0-943C-F5D9DB9F4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C63D2C-C251-44F7-9AFE-49D260DAD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D8CAF-D3C7-4192-AA24-2B5550F7D8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214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6F477A-D259-4E6E-9CFC-4B097E3634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C51FF7-8878-4594-834F-FA3EFE5BB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31B3D0-36A5-44C2-891C-B03E0B4D81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3A8C0C-FC85-46B2-8576-F8F1660EF7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89842-E643-480B-AFA1-44A52F6B97B7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74C3E3-7700-4AAA-8970-F7B9B2FE06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77F31D-AF41-4B43-AA16-4A1A2405E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D8CAF-D3C7-4192-AA24-2B5550F7D8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9220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6183F-01FE-49BA-8062-8436EF34A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CA27C9-3121-410C-AE01-B2A74C600A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1DC0F27-A164-4297-A01D-2279B1C55E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9B5EE3-B797-4DC9-AC2D-08515BB1A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8ECEF4A-C632-4845-894E-C1500035DF1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60064D-2570-4284-B103-2ADD7124AD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89842-E643-480B-AFA1-44A52F6B97B7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008D37-F7ED-478D-B6EB-6F91728C84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DDC08B-6344-49DB-962F-7BDE234A1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D8CAF-D3C7-4192-AA24-2B5550F7D8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1289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2D7975-65EA-4EEF-8D03-5C601C0661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383214-E0A4-4187-87B2-77CCBB3AC2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89842-E643-480B-AFA1-44A52F6B97B7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830167-B203-4A3C-AB7C-0CF3455CA1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0E509B-776F-45ED-83ED-83BB2513C8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D8CAF-D3C7-4192-AA24-2B5550F7D8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5038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F0FABC-5699-4B41-AD31-3DDD4CB837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89842-E643-480B-AFA1-44A52F6B97B7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5093DD-0B2A-4F46-A405-4D984FADB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B8E230-B5AB-4FB0-A7B3-19BB62443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D8CAF-D3C7-4192-AA24-2B5550F7D8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1092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F6DEC3-91C8-44B8-B904-243F08899A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EF2927-86E9-4F03-B1FB-7F97E5B02D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93870E-459F-4B86-8CFE-D14BDF131A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FD98C0-15BB-4083-8368-28FC717694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89842-E643-480B-AFA1-44A52F6B97B7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C5727D-87CE-40D3-BEFA-4D36E6C8E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D12BF3-4C17-4679-8A04-9CEB634F1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D8CAF-D3C7-4192-AA24-2B5550F7D8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5251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B7A5D6-AC54-45AD-9B6B-8F359EDAF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F72434-B2DE-4EFA-ADFE-120AD44C68E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7429D0-81E8-4EBB-999C-8CF94AC5FB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5A491A-5AE9-49D1-BA88-5B3F65F86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89842-E643-480B-AFA1-44A52F6B97B7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F7EEF3-E914-4C03-83B9-30396BEFC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B76C89-0195-4798-98DB-0D91570C9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D8CAF-D3C7-4192-AA24-2B5550F7D8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48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A4E6F81-E917-40F6-8606-C6844586F4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2B6F5C-6B01-4B48-BA12-2B4CE59D66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E4925C-D5C6-40A5-8029-E3E5DBBB67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589842-E643-480B-AFA1-44A52F6B97B7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510CC7-481A-402A-BE4C-19348A77F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E9323E-BE1D-4AD7-BEB8-B741F841B8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AD8CAF-D3C7-4192-AA24-2B5550F7D8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679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41A046-EB39-4280-90F1-8010862251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8D9739-0B0A-4C81-858F-91C8CC5075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9894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53" y="2275116"/>
            <a:ext cx="10029100" cy="179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29" y="2457450"/>
            <a:ext cx="10029100" cy="179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467" y="3026030"/>
            <a:ext cx="10029100" cy="179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15"/>
          <p:cNvGrpSpPr>
            <a:grpSpLocks/>
          </p:cNvGrpSpPr>
          <p:nvPr/>
        </p:nvGrpSpPr>
        <p:grpSpPr bwMode="auto">
          <a:xfrm rot="909528">
            <a:off x="6703691" y="492436"/>
            <a:ext cx="5387440" cy="1305286"/>
            <a:chOff x="5293407" y="44671"/>
            <a:chExt cx="4429868" cy="2614002"/>
          </a:xfrm>
        </p:grpSpPr>
        <p:pic>
          <p:nvPicPr>
            <p:cNvPr id="3090" name="Picture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8074" y="44671"/>
              <a:ext cx="4405201" cy="2580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91" name="TextBox 7"/>
            <p:cNvSpPr txBox="1">
              <a:spLocks noChangeArrowheads="1"/>
            </p:cNvSpPr>
            <p:nvPr/>
          </p:nvSpPr>
          <p:spPr bwMode="auto">
            <a:xfrm>
              <a:off x="5293407" y="624678"/>
              <a:ext cx="4422431" cy="20339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3000" b="1" dirty="0">
                  <a:solidFill>
                    <a:srgbClr val="FF0000"/>
                  </a:solidFill>
                  <a:latin typeface="Arial" panose="020B0604020202020204" pitchFamily="34" charset="0"/>
                </a:rPr>
                <a:t>The contact change process</a:t>
              </a:r>
              <a:br>
                <a:rPr lang="en-US" altLang="en-US" sz="3000" b="1" dirty="0">
                  <a:solidFill>
                    <a:srgbClr val="FF0000"/>
                  </a:solidFill>
                  <a:latin typeface="Arial" panose="020B0604020202020204" pitchFamily="34" charset="0"/>
                </a:rPr>
              </a:br>
              <a:r>
                <a:rPr lang="en-US" altLang="en-US" sz="3000" b="1" dirty="0">
                  <a:solidFill>
                    <a:srgbClr val="FF0000"/>
                  </a:solidFill>
                  <a:latin typeface="Arial" panose="020B0604020202020204" pitchFamily="34" charset="0"/>
                </a:rPr>
                <a:t> is a nightmare to navigate</a:t>
              </a:r>
              <a:endParaRPr lang="en-GB" altLang="en-US" sz="3000" b="1" dirty="0">
                <a:solidFill>
                  <a:srgbClr val="FF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" name="Group 14"/>
          <p:cNvGrpSpPr>
            <a:grpSpLocks/>
          </p:cNvGrpSpPr>
          <p:nvPr/>
        </p:nvGrpSpPr>
        <p:grpSpPr bwMode="auto">
          <a:xfrm rot="-941329">
            <a:off x="-161450" y="738158"/>
            <a:ext cx="6662400" cy="1325564"/>
            <a:chOff x="-37358" y="2924944"/>
            <a:chExt cx="4997427" cy="1325883"/>
          </a:xfrm>
        </p:grpSpPr>
        <p:pic>
          <p:nvPicPr>
            <p:cNvPr id="3088" name="Picture 6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2924944"/>
              <a:ext cx="4102616" cy="1325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89" name="TextBox 9"/>
            <p:cNvSpPr txBox="1">
              <a:spLocks noChangeArrowheads="1"/>
            </p:cNvSpPr>
            <p:nvPr/>
          </p:nvSpPr>
          <p:spPr bwMode="auto">
            <a:xfrm>
              <a:off x="-37358" y="3099246"/>
              <a:ext cx="4997427" cy="913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2667" b="1" dirty="0">
                  <a:solidFill>
                    <a:srgbClr val="003366"/>
                  </a:solidFill>
                  <a:latin typeface="Arial" pitchFamily="34" charset="0"/>
                </a:rPr>
                <a:t>We use service and </a:t>
              </a:r>
              <a:br>
                <a:rPr lang="en-US" altLang="en-US" sz="2667" b="1" dirty="0">
                  <a:solidFill>
                    <a:srgbClr val="003366"/>
                  </a:solidFill>
                  <a:latin typeface="Arial" pitchFamily="34" charset="0"/>
                </a:rPr>
              </a:br>
              <a:r>
                <a:rPr lang="en-US" altLang="en-US" sz="2667" b="1" dirty="0">
                  <a:solidFill>
                    <a:srgbClr val="003366"/>
                  </a:solidFill>
                  <a:latin typeface="Arial" pitchFamily="34" charset="0"/>
                </a:rPr>
                <a:t>have been quite happy with the process</a:t>
              </a:r>
              <a:endParaRPr lang="en-GB" altLang="en-US" sz="2667" b="1" dirty="0">
                <a:solidFill>
                  <a:srgbClr val="003366"/>
                </a:solidFill>
                <a:latin typeface="Arial" pitchFamily="34" charset="0"/>
              </a:endParaRPr>
            </a:p>
          </p:txBody>
        </p:sp>
      </p:grpSp>
      <p:grpSp>
        <p:nvGrpSpPr>
          <p:cNvPr id="6" name="Group 28"/>
          <p:cNvGrpSpPr>
            <a:grpSpLocks/>
          </p:cNvGrpSpPr>
          <p:nvPr/>
        </p:nvGrpSpPr>
        <p:grpSpPr bwMode="auto">
          <a:xfrm rot="-559359">
            <a:off x="-281806" y="5079683"/>
            <a:ext cx="7568097" cy="1015663"/>
            <a:chOff x="-1328659" y="4637066"/>
            <a:chExt cx="7576040" cy="2273616"/>
          </a:xfrm>
        </p:grpSpPr>
        <p:pic>
          <p:nvPicPr>
            <p:cNvPr id="3086" name="Picture 8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712023" y="4797152"/>
              <a:ext cx="3843536" cy="16337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87" name="TextBox 11"/>
            <p:cNvSpPr txBox="1">
              <a:spLocks noChangeArrowheads="1"/>
            </p:cNvSpPr>
            <p:nvPr/>
          </p:nvSpPr>
          <p:spPr bwMode="auto">
            <a:xfrm>
              <a:off x="-1328659" y="4637066"/>
              <a:ext cx="7576040" cy="2273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2000" b="1" dirty="0">
                  <a:solidFill>
                    <a:srgbClr val="FF0000"/>
                  </a:solidFill>
                  <a:latin typeface="Arial" pitchFamily="34" charset="0"/>
                </a:rPr>
                <a:t>There have been multiple, expensive and </a:t>
              </a:r>
              <a:br>
                <a:rPr lang="en-US" altLang="en-US" sz="2000" b="1" dirty="0">
                  <a:solidFill>
                    <a:srgbClr val="FF0000"/>
                  </a:solidFill>
                  <a:latin typeface="Arial" pitchFamily="34" charset="0"/>
                </a:rPr>
              </a:br>
              <a:r>
                <a:rPr lang="en-US" altLang="en-US" sz="2000" b="1" dirty="0">
                  <a:solidFill>
                    <a:srgbClr val="FF0000"/>
                  </a:solidFill>
                  <a:latin typeface="Arial" pitchFamily="34" charset="0"/>
                </a:rPr>
                <a:t>time consuming mistakes made, </a:t>
              </a:r>
              <a:br>
                <a:rPr lang="en-US" altLang="en-US" sz="2000" b="1" dirty="0">
                  <a:solidFill>
                    <a:srgbClr val="FF0000"/>
                  </a:solidFill>
                  <a:latin typeface="Arial" pitchFamily="34" charset="0"/>
                </a:rPr>
              </a:br>
              <a:r>
                <a:rPr lang="en-US" altLang="en-US" sz="2000" b="1" dirty="0">
                  <a:solidFill>
                    <a:srgbClr val="FF0000"/>
                  </a:solidFill>
                  <a:latin typeface="Arial" pitchFamily="34" charset="0"/>
                </a:rPr>
                <a:t>and the inability to fix them in a timely manner was shocking</a:t>
              </a:r>
              <a:endParaRPr lang="en-GB" altLang="en-US" sz="2000" b="1" dirty="0">
                <a:solidFill>
                  <a:srgbClr val="FF0000"/>
                </a:solidFill>
                <a:latin typeface="Arial" pitchFamily="34" charset="0"/>
              </a:endParaRPr>
            </a:p>
          </p:txBody>
        </p:sp>
      </p:grpSp>
      <p:grpSp>
        <p:nvGrpSpPr>
          <p:cNvPr id="7" name="Group 33"/>
          <p:cNvGrpSpPr>
            <a:grpSpLocks/>
          </p:cNvGrpSpPr>
          <p:nvPr/>
        </p:nvGrpSpPr>
        <p:grpSpPr bwMode="auto">
          <a:xfrm>
            <a:off x="988738" y="1749818"/>
            <a:ext cx="10029100" cy="2857441"/>
            <a:chOff x="1359937" y="2270651"/>
            <a:chExt cx="6461965" cy="2454951"/>
          </a:xfrm>
        </p:grpSpPr>
        <p:pic>
          <p:nvPicPr>
            <p:cNvPr id="3084" name="Picture 3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9937" y="2270651"/>
              <a:ext cx="6461965" cy="1539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85" name="TextBox 16"/>
            <p:cNvSpPr txBox="1">
              <a:spLocks noChangeArrowheads="1"/>
            </p:cNvSpPr>
            <p:nvPr/>
          </p:nvSpPr>
          <p:spPr bwMode="auto">
            <a:xfrm>
              <a:off x="1936552" y="2883668"/>
              <a:ext cx="5299744" cy="18419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3333" b="1" dirty="0">
                  <a:solidFill>
                    <a:srgbClr val="003366"/>
                  </a:solidFill>
                  <a:latin typeface="Arial" panose="020B0604020202020204" pitchFamily="34" charset="0"/>
                </a:rPr>
                <a:t>It would be helpful to have departments coordinate with each other to resolve issues vs requiring the customer to serve as the liaison</a:t>
              </a:r>
              <a:endParaRPr lang="en-GB" altLang="en-US" sz="3333" b="1" dirty="0">
                <a:solidFill>
                  <a:srgbClr val="003366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8" name="Group 27"/>
          <p:cNvGrpSpPr>
            <a:grpSpLocks/>
          </p:cNvGrpSpPr>
          <p:nvPr/>
        </p:nvGrpSpPr>
        <p:grpSpPr bwMode="auto">
          <a:xfrm rot="1689533">
            <a:off x="6692784" y="4536367"/>
            <a:ext cx="5301917" cy="2033588"/>
            <a:chOff x="4901628" y="4229792"/>
            <a:chExt cx="5040259" cy="2033505"/>
          </a:xfrm>
        </p:grpSpPr>
        <p:pic>
          <p:nvPicPr>
            <p:cNvPr id="3082" name="Picture 18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662982">
              <a:off x="5157838" y="4229792"/>
              <a:ext cx="4784049" cy="20335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83" name="TextBox 24"/>
            <p:cNvSpPr txBox="1">
              <a:spLocks noChangeArrowheads="1"/>
            </p:cNvSpPr>
            <p:nvPr/>
          </p:nvSpPr>
          <p:spPr bwMode="auto">
            <a:xfrm rot="20662982">
              <a:off x="4901628" y="4678608"/>
              <a:ext cx="4782277" cy="8103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2333" b="1" dirty="0">
                  <a:solidFill>
                    <a:srgbClr val="000000"/>
                  </a:solidFill>
                  <a:latin typeface="Arial" pitchFamily="34" charset="0"/>
                </a:rPr>
                <a:t>They are all-inclusive, well trained</a:t>
              </a:r>
              <a:br>
                <a:rPr lang="en-US" altLang="en-US" sz="2333" b="1" dirty="0">
                  <a:solidFill>
                    <a:srgbClr val="000000"/>
                  </a:solidFill>
                  <a:latin typeface="Arial" pitchFamily="34" charset="0"/>
                </a:rPr>
              </a:br>
              <a:r>
                <a:rPr lang="en-US" altLang="en-US" sz="2333" b="1" dirty="0">
                  <a:solidFill>
                    <a:srgbClr val="000000"/>
                  </a:solidFill>
                  <a:latin typeface="Arial" pitchFamily="34" charset="0"/>
                </a:rPr>
                <a:t> and professional</a:t>
              </a:r>
              <a:endParaRPr lang="en-GB" altLang="en-US" sz="2333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610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7472">
        <p:fade/>
      </p:transition>
    </mc:Choice>
    <mc:Fallback xmlns="">
      <p:transition spd="med" advTm="5747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5389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14C7C831-E539-4A70-B82B-DD022AB6D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>
                <a:latin typeface="+mj-lt"/>
              </a:rPr>
              <a:t>Agenda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6A01CC9-D597-4D12-AD2D-991B67273C40}"/>
              </a:ext>
            </a:extLst>
          </p:cNvPr>
          <p:cNvSpPr txBox="1">
            <a:spLocks/>
          </p:cNvSpPr>
          <p:nvPr/>
        </p:nvSpPr>
        <p:spPr>
          <a:xfrm>
            <a:off x="838200" y="2668966"/>
            <a:ext cx="8288337" cy="2947987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About me</a:t>
            </a:r>
          </a:p>
          <a:p>
            <a:pPr lvl="1"/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Meet Kent</a:t>
            </a:r>
          </a:p>
          <a:p>
            <a:pPr lvl="1"/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Situation</a:t>
            </a:r>
          </a:p>
          <a:p>
            <a:pPr lvl="1"/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Complication</a:t>
            </a:r>
          </a:p>
          <a:p>
            <a:pPr lvl="1"/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Resolution</a:t>
            </a:r>
          </a:p>
          <a:p>
            <a:pPr lvl="1"/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Cost-Benefit Analysis</a:t>
            </a:r>
          </a:p>
          <a:p>
            <a:pPr lvl="1"/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Implementation</a:t>
            </a:r>
          </a:p>
          <a:p>
            <a:pPr lvl="1"/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Learnings</a:t>
            </a:r>
          </a:p>
          <a:p>
            <a:pPr marL="457200" lvl="1" indent="0">
              <a:buFont typeface="Arial" panose="020B0604020202020204" pitchFamily="34" charset="0"/>
              <a:buNone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40437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25525C1-83B4-4438-A1C6-6F3E4BEEEE75}"/>
              </a:ext>
            </a:extLst>
          </p:cNvPr>
          <p:cNvSpPr txBox="1">
            <a:spLocks/>
          </p:cNvSpPr>
          <p:nvPr/>
        </p:nvSpPr>
        <p:spPr>
          <a:xfrm>
            <a:off x="230188" y="359317"/>
            <a:ext cx="7942262" cy="577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latin typeface="+mj-lt"/>
              </a:rPr>
              <a:t>Broker Change Authorization </a:t>
            </a:r>
            <a:endParaRPr lang="en-US" dirty="0">
              <a:latin typeface="+mj-lt"/>
            </a:endParaRPr>
          </a:p>
        </p:txBody>
      </p:sp>
      <p:grpSp>
        <p:nvGrpSpPr>
          <p:cNvPr id="5" name="Group 12">
            <a:extLst>
              <a:ext uri="{FF2B5EF4-FFF2-40B4-BE49-F238E27FC236}">
                <a16:creationId xmlns:a16="http://schemas.microsoft.com/office/drawing/2014/main" id="{12EC984E-161E-40A9-A49B-8FDE64FE5C50}"/>
              </a:ext>
            </a:extLst>
          </p:cNvPr>
          <p:cNvGrpSpPr>
            <a:grpSpLocks/>
          </p:cNvGrpSpPr>
          <p:nvPr/>
        </p:nvGrpSpPr>
        <p:grpSpPr bwMode="auto">
          <a:xfrm>
            <a:off x="68923" y="782253"/>
            <a:ext cx="8964545" cy="462708"/>
            <a:chOff x="300" y="822"/>
            <a:chExt cx="1847" cy="589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C1C0895B-6ADF-4D28-A6F3-BAF76F29C4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22"/>
              <a:ext cx="1847" cy="254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2"/>
              </a:solidFill>
              <a:miter lim="800000"/>
              <a:headEnd/>
              <a:tailEnd type="none" w="sm" len="med"/>
            </a:ln>
          </p:spPr>
          <p:txBody>
            <a:bodyPr lIns="45720" tIns="45720" rIns="45720" bIns="45720" anchor="ctr" anchorCtr="1"/>
            <a:lstStyle/>
            <a:p>
              <a:pPr defTabSz="1367395"/>
              <a:r>
                <a:rPr lang="en-US" sz="1400" b="1" dirty="0">
                  <a:solidFill>
                    <a:srgbClr val="FFFFFF"/>
                  </a:solidFill>
                </a:rPr>
                <a:t>Purpose</a:t>
              </a:r>
            </a:p>
          </p:txBody>
        </p:sp>
        <p:sp>
          <p:nvSpPr>
            <p:cNvPr id="7" name="Rectangle 11">
              <a:extLst>
                <a:ext uri="{FF2B5EF4-FFF2-40B4-BE49-F238E27FC236}">
                  <a16:creationId xmlns:a16="http://schemas.microsoft.com/office/drawing/2014/main" id="{14CF697C-710A-4BA6-A810-6F6CEFC56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6"/>
              <a:ext cx="1847" cy="335"/>
            </a:xfrm>
            <a:prstGeom prst="rect">
              <a:avLst/>
            </a:prstGeom>
            <a:noFill/>
            <a:ln w="12700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lIns="40118" tIns="40118" rIns="40118" bIns="40118" anchor="ctr"/>
            <a:lstStyle/>
            <a:p>
              <a:pPr algn="ctr" defTabSz="1368445">
                <a:spcAft>
                  <a:spcPts val="428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</a:rPr>
                <a:t>To replace or add a new broker</a:t>
              </a:r>
            </a:p>
          </p:txBody>
        </p:sp>
      </p:grpSp>
      <p:sp>
        <p:nvSpPr>
          <p:cNvPr id="8" name="Text Box 10">
            <a:extLst>
              <a:ext uri="{FF2B5EF4-FFF2-40B4-BE49-F238E27FC236}">
                <a16:creationId xmlns:a16="http://schemas.microsoft.com/office/drawing/2014/main" id="{8555A8AB-2EE5-4A8A-ACFC-4620D8C1BB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920" y="1340103"/>
            <a:ext cx="1861656" cy="246562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3"/>
            </a:solidFill>
            <a:miter lim="800000"/>
            <a:headEnd/>
            <a:tailEnd type="none" w="sm" len="med"/>
          </a:ln>
        </p:spPr>
        <p:txBody>
          <a:bodyPr lIns="57307" tIns="51424" rIns="57307" bIns="51424" anchor="ctr" anchorCtr="1"/>
          <a:lstStyle>
            <a:defPPr>
              <a:defRPr lang="en-US"/>
            </a:defPPr>
            <a:lvl1pPr defTabSz="957263">
              <a:defRPr sz="1200" b="1">
                <a:solidFill>
                  <a:srgbClr val="FFFFFF"/>
                </a:solidFill>
              </a:defRPr>
            </a:lvl1pPr>
          </a:lstStyle>
          <a:p>
            <a:r>
              <a:rPr lang="en-US" sz="1400" dirty="0"/>
              <a:t>Teams involve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971998-3C29-46AB-9693-260177BFFEC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923" y="2032800"/>
            <a:ext cx="1864653" cy="2837886"/>
          </a:xfrm>
          <a:prstGeom prst="rect">
            <a:avLst/>
          </a:prstGeom>
          <a:noFill/>
          <a:ln w="12700" algn="ctr">
            <a:solidFill>
              <a:schemeClr val="accent3"/>
            </a:solidFill>
            <a:miter lim="800000"/>
            <a:headEnd type="none" w="sm" len="sm"/>
            <a:tailEnd type="none" w="sm" len="sm"/>
          </a:ln>
        </p:spPr>
        <p:txBody>
          <a:bodyPr lIns="65309" tIns="65309" rIns="25712" bIns="25712" anchor="ctr"/>
          <a:lstStyle/>
          <a:p>
            <a:pPr marL="167807" lvl="1" indent="-167807" defTabSz="1368445">
              <a:lnSpc>
                <a:spcPct val="106000"/>
              </a:lnSpc>
              <a:spcBef>
                <a:spcPts val="1920"/>
              </a:spcBef>
              <a:buFont typeface="Arial" charset="0"/>
              <a:buChar char="•"/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  <a:p>
            <a:pPr marL="167807" lvl="1" indent="-167807" defTabSz="1368445">
              <a:lnSpc>
                <a:spcPct val="106000"/>
              </a:lnSpc>
              <a:spcBef>
                <a:spcPts val="1920"/>
              </a:spcBef>
              <a:buFont typeface="Arial" charset="0"/>
              <a:buChar char="•"/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  <a:p>
            <a:pPr marL="167807" lvl="1" indent="-167807" defTabSz="1368445">
              <a:spcBef>
                <a:spcPts val="1920"/>
              </a:spcBef>
              <a:buFont typeface="Arial" charset="0"/>
              <a:buChar char="•"/>
              <a:defRPr/>
            </a:pPr>
            <a:r>
              <a:rPr lang="en-US" sz="1200" dirty="0">
                <a:cs typeface="Arial" pitchFamily="34" charset="0"/>
              </a:rPr>
              <a:t>Workflow</a:t>
            </a:r>
          </a:p>
          <a:p>
            <a:pPr marL="167807" lvl="1" indent="-167807" defTabSz="1368445">
              <a:spcBef>
                <a:spcPts val="1920"/>
              </a:spcBef>
              <a:buFont typeface="Arial" charset="0"/>
              <a:buChar char="•"/>
              <a:defRPr/>
            </a:pPr>
            <a:r>
              <a:rPr lang="en-US" sz="1200" dirty="0">
                <a:cs typeface="Arial" pitchFamily="34" charset="0"/>
              </a:rPr>
              <a:t>Special Processing Operations Team(SPOT)</a:t>
            </a:r>
          </a:p>
          <a:p>
            <a:pPr marL="167807" lvl="1" indent="-167807" defTabSz="1368445">
              <a:spcBef>
                <a:spcPts val="1920"/>
              </a:spcBef>
              <a:buFont typeface="Arial" charset="0"/>
              <a:buChar char="•"/>
              <a:defRPr/>
            </a:pPr>
            <a:r>
              <a:rPr lang="en-US" sz="1200" dirty="0">
                <a:cs typeface="Arial" pitchFamily="34" charset="0"/>
              </a:rPr>
              <a:t>Client Services</a:t>
            </a:r>
          </a:p>
          <a:p>
            <a:pPr marL="167807" lvl="1" indent="-167807" defTabSz="1368445">
              <a:spcBef>
                <a:spcPts val="1920"/>
              </a:spcBef>
              <a:buFont typeface="Arial" charset="0"/>
              <a:buChar char="•"/>
              <a:defRPr/>
            </a:pPr>
            <a:r>
              <a:rPr lang="en-US" sz="1200" dirty="0">
                <a:cs typeface="Arial" pitchFamily="34" charset="0"/>
              </a:rPr>
              <a:t>Client Service Back Office</a:t>
            </a:r>
          </a:p>
          <a:p>
            <a:pPr marL="167807" lvl="1" indent="-167807" defTabSz="1368445">
              <a:spcBef>
                <a:spcPts val="1920"/>
              </a:spcBef>
              <a:buFont typeface="Arial" charset="0"/>
              <a:buChar char="•"/>
              <a:defRPr/>
            </a:pPr>
            <a:r>
              <a:rPr lang="en-US" sz="1200" dirty="0">
                <a:cs typeface="Arial" pitchFamily="34" charset="0"/>
              </a:rPr>
              <a:t>SM Resolution</a:t>
            </a:r>
          </a:p>
          <a:p>
            <a:pPr marL="167807" lvl="1" indent="-167807" defTabSz="1368445">
              <a:lnSpc>
                <a:spcPct val="106000"/>
              </a:lnSpc>
              <a:spcBef>
                <a:spcPts val="1920"/>
              </a:spcBef>
              <a:buFont typeface="Arial" charset="0"/>
              <a:buChar char="•"/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  <a:p>
            <a:pPr marL="167807" lvl="1" indent="-167807" defTabSz="1368445">
              <a:lnSpc>
                <a:spcPct val="106000"/>
              </a:lnSpc>
              <a:spcBef>
                <a:spcPts val="1920"/>
              </a:spcBef>
              <a:buFont typeface="Arial" charset="0"/>
              <a:buChar char="•"/>
              <a:defRPr/>
            </a:pPr>
            <a:endParaRPr lang="en-US" sz="1400" dirty="0">
              <a:solidFill>
                <a:srgbClr val="002776"/>
              </a:solidFill>
            </a:endParaRPr>
          </a:p>
        </p:txBody>
      </p:sp>
      <p:sp>
        <p:nvSpPr>
          <p:cNvPr id="10" name="Text Box 10">
            <a:extLst>
              <a:ext uri="{FF2B5EF4-FFF2-40B4-BE49-F238E27FC236}">
                <a16:creationId xmlns:a16="http://schemas.microsoft.com/office/drawing/2014/main" id="{97FB16FF-5FC8-4ADE-AD13-80F8403487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91281" y="1340101"/>
            <a:ext cx="2371388" cy="246564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3"/>
            </a:solidFill>
            <a:miter lim="800000"/>
            <a:headEnd/>
            <a:tailEnd type="none" w="sm" len="med"/>
          </a:ln>
        </p:spPr>
        <p:txBody>
          <a:bodyPr lIns="57307" tIns="51424" rIns="57307" bIns="51424" anchor="ctr" anchorCtr="1"/>
          <a:lstStyle/>
          <a:p>
            <a:pPr defTabSz="1367395"/>
            <a:r>
              <a:rPr lang="en-US" sz="1400" b="1" dirty="0">
                <a:solidFill>
                  <a:srgbClr val="FFFFFF"/>
                </a:solidFill>
              </a:rPr>
              <a:t>Key Observations</a:t>
            </a:r>
          </a:p>
        </p:txBody>
      </p:sp>
      <p:sp>
        <p:nvSpPr>
          <p:cNvPr id="11" name="Rectangle 11">
            <a:extLst>
              <a:ext uri="{FF2B5EF4-FFF2-40B4-BE49-F238E27FC236}">
                <a16:creationId xmlns:a16="http://schemas.microsoft.com/office/drawing/2014/main" id="{50611F3E-DE01-406A-8D9B-E9B32201F9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91281" y="1611457"/>
            <a:ext cx="2371388" cy="294642"/>
          </a:xfrm>
          <a:prstGeom prst="rect">
            <a:avLst/>
          </a:prstGeom>
          <a:noFill/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57307" tIns="57307" rIns="57307" bIns="57307" anchor="ctr"/>
          <a:lstStyle/>
          <a:p>
            <a:pPr algn="ctr" defTabSz="1368445">
              <a:spcAft>
                <a:spcPts val="428"/>
              </a:spcAft>
              <a:defRPr/>
            </a:pPr>
            <a:r>
              <a:rPr lang="en-US" sz="1400" kern="0" dirty="0">
                <a:solidFill>
                  <a:srgbClr val="000000"/>
                </a:solidFill>
              </a:rPr>
              <a:t>Over utilized capacit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78DD506-A94D-451F-99C9-0C48BFFAF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20" y="1639464"/>
            <a:ext cx="1861656" cy="294642"/>
          </a:xfrm>
          <a:prstGeom prst="rect">
            <a:avLst/>
          </a:prstGeom>
          <a:noFill/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57307" tIns="57307" rIns="57307" bIns="57307" anchor="ctr"/>
          <a:lstStyle/>
          <a:p>
            <a:pPr algn="ctr" defTabSz="1368445">
              <a:spcAft>
                <a:spcPts val="428"/>
              </a:spcAft>
              <a:defRPr/>
            </a:pPr>
            <a:r>
              <a:rPr lang="en-US" sz="1400" kern="0" dirty="0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3E00435-1653-4840-8A4B-E4C5700577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67884" y="2015682"/>
            <a:ext cx="2458503" cy="2855004"/>
          </a:xfrm>
          <a:prstGeom prst="rect">
            <a:avLst/>
          </a:prstGeom>
          <a:noFill/>
          <a:ln w="12700" algn="ctr">
            <a:solidFill>
              <a:schemeClr val="accent3"/>
            </a:solidFill>
            <a:miter lim="800000"/>
            <a:headEnd type="none" w="sm" len="sm"/>
            <a:tailEnd type="none" w="sm" len="sm"/>
          </a:ln>
        </p:spPr>
        <p:txBody>
          <a:bodyPr lIns="65309" tIns="65309" rIns="25712" bIns="25712" anchor="ctr"/>
          <a:lstStyle/>
          <a:p>
            <a:pPr marL="167807" lvl="1" indent="-167807" defTabSz="1368445">
              <a:lnSpc>
                <a:spcPct val="106000"/>
              </a:lnSpc>
              <a:spcBef>
                <a:spcPts val="1920"/>
              </a:spcBef>
              <a:buFont typeface="Arial" charset="0"/>
              <a:buChar char="•"/>
              <a:defRPr/>
            </a:pPr>
            <a:endParaRPr lang="en-US" sz="1400" dirty="0">
              <a:cs typeface="Arial" pitchFamily="34" charset="0"/>
            </a:endParaRPr>
          </a:p>
          <a:p>
            <a:pPr marL="167807" lvl="1" indent="-167807" defTabSz="1368445">
              <a:lnSpc>
                <a:spcPct val="106000"/>
              </a:lnSpc>
              <a:spcBef>
                <a:spcPts val="1920"/>
              </a:spcBef>
              <a:buFont typeface="Arial" charset="0"/>
              <a:buChar char="•"/>
              <a:defRPr/>
            </a:pPr>
            <a:endParaRPr lang="en-US" b="1" dirty="0">
              <a:solidFill>
                <a:schemeClr val="accent1"/>
              </a:solidFill>
              <a:cs typeface="Arial" pitchFamily="34" charset="0"/>
            </a:endParaRPr>
          </a:p>
          <a:p>
            <a:pPr marL="167807" lvl="1" indent="-167807" defTabSz="1368445">
              <a:lnSpc>
                <a:spcPct val="106000"/>
              </a:lnSpc>
              <a:spcBef>
                <a:spcPts val="1920"/>
              </a:spcBef>
              <a:buFont typeface="Arial" charset="0"/>
              <a:buChar char="•"/>
              <a:defRPr/>
            </a:pPr>
            <a:endParaRPr lang="en-US" b="1" dirty="0">
              <a:solidFill>
                <a:schemeClr val="accent1"/>
              </a:solidFill>
              <a:cs typeface="Arial" pitchFamily="34" charset="0"/>
            </a:endParaRPr>
          </a:p>
          <a:p>
            <a:pPr marL="167807" lvl="1" indent="-167807" defTabSz="1368445">
              <a:lnSpc>
                <a:spcPct val="106000"/>
              </a:lnSpc>
              <a:spcBef>
                <a:spcPts val="1920"/>
              </a:spcBef>
              <a:buFont typeface="Arial" charset="0"/>
              <a:buChar char="•"/>
              <a:defRPr/>
            </a:pPr>
            <a:r>
              <a:rPr lang="en-US" b="1" dirty="0">
                <a:solidFill>
                  <a:schemeClr val="accent1"/>
                </a:solidFill>
                <a:cs typeface="Arial" pitchFamily="34" charset="0"/>
              </a:rPr>
              <a:t>High Amount</a:t>
            </a:r>
            <a:r>
              <a:rPr lang="en-US" sz="1400" dirty="0">
                <a:cs typeface="Arial" pitchFamily="34" charset="0"/>
              </a:rPr>
              <a:t> of information requested </a:t>
            </a:r>
          </a:p>
          <a:p>
            <a:pPr marL="167807" lvl="1" indent="-167807" defTabSz="1368445">
              <a:lnSpc>
                <a:spcPct val="106000"/>
              </a:lnSpc>
              <a:spcBef>
                <a:spcPts val="1920"/>
              </a:spcBef>
              <a:buFont typeface="Arial" charset="0"/>
              <a:buChar char="•"/>
              <a:defRPr/>
            </a:pPr>
            <a:r>
              <a:rPr lang="en-US" sz="2000" b="1" dirty="0">
                <a:solidFill>
                  <a:schemeClr val="accent1"/>
                </a:solidFill>
                <a:cs typeface="Arial" pitchFamily="34" charset="0"/>
              </a:rPr>
              <a:t>4,500 </a:t>
            </a:r>
            <a:r>
              <a:rPr lang="en-US" sz="1400" dirty="0">
                <a:cs typeface="Arial" pitchFamily="34" charset="0"/>
              </a:rPr>
              <a:t>requests per year</a:t>
            </a:r>
          </a:p>
          <a:p>
            <a:pPr marL="167807" lvl="1" indent="-167807" defTabSz="1368445">
              <a:lnSpc>
                <a:spcPct val="106000"/>
              </a:lnSpc>
              <a:spcBef>
                <a:spcPts val="1920"/>
              </a:spcBef>
              <a:buFont typeface="Arial" charset="0"/>
              <a:buChar char="•"/>
              <a:defRPr/>
            </a:pPr>
            <a:r>
              <a:rPr lang="en-US" sz="1400" dirty="0">
                <a:cs typeface="Arial" pitchFamily="34" charset="0"/>
              </a:rPr>
              <a:t>10-15% of the requests i.e., </a:t>
            </a:r>
            <a:r>
              <a:rPr lang="en-US" sz="2000" b="1" dirty="0">
                <a:solidFill>
                  <a:schemeClr val="accent1"/>
                </a:solidFill>
                <a:cs typeface="Arial" pitchFamily="34" charset="0"/>
              </a:rPr>
              <a:t>600 NIGOs </a:t>
            </a:r>
            <a:r>
              <a:rPr lang="en-US" sz="1400" dirty="0">
                <a:cs typeface="Arial" pitchFamily="34" charset="0"/>
              </a:rPr>
              <a:t>per year</a:t>
            </a:r>
          </a:p>
          <a:p>
            <a:pPr marL="167807" lvl="1" indent="-167807" defTabSz="1368445">
              <a:lnSpc>
                <a:spcPct val="106000"/>
              </a:lnSpc>
              <a:spcBef>
                <a:spcPts val="1920"/>
              </a:spcBef>
              <a:buFont typeface="Arial" charset="0"/>
              <a:buChar char="•"/>
              <a:defRPr/>
            </a:pPr>
            <a:r>
              <a:rPr lang="en-US" sz="1400" dirty="0">
                <a:solidFill>
                  <a:srgbClr val="6F6F73"/>
                </a:solidFill>
                <a:cs typeface="Arial" pitchFamily="34" charset="0"/>
              </a:rPr>
              <a:t>Sometimes, tasks are </a:t>
            </a:r>
            <a:r>
              <a:rPr lang="en-US" b="1" dirty="0">
                <a:solidFill>
                  <a:srgbClr val="64BEEB"/>
                </a:solidFill>
                <a:cs typeface="Arial" pitchFamily="34" charset="0"/>
              </a:rPr>
              <a:t>closed prematurely</a:t>
            </a:r>
          </a:p>
          <a:p>
            <a:pPr marL="167807" lvl="1" indent="-167807" defTabSz="1368445">
              <a:lnSpc>
                <a:spcPct val="106000"/>
              </a:lnSpc>
              <a:spcBef>
                <a:spcPts val="1920"/>
              </a:spcBef>
              <a:buFont typeface="Arial" charset="0"/>
              <a:buChar char="•"/>
              <a:defRPr/>
            </a:pPr>
            <a:endParaRPr lang="en-US" sz="1400" dirty="0">
              <a:cs typeface="Arial" pitchFamily="34" charset="0"/>
            </a:endParaRPr>
          </a:p>
          <a:p>
            <a:pPr marL="167807" lvl="1" indent="-167807" defTabSz="1368445">
              <a:lnSpc>
                <a:spcPct val="106000"/>
              </a:lnSpc>
              <a:spcBef>
                <a:spcPts val="1920"/>
              </a:spcBef>
              <a:buFont typeface="Arial" charset="0"/>
              <a:buChar char="•"/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  <a:p>
            <a:pPr marL="167807" lvl="1" indent="-167807" defTabSz="1368445">
              <a:lnSpc>
                <a:spcPct val="106000"/>
              </a:lnSpc>
              <a:spcBef>
                <a:spcPts val="1920"/>
              </a:spcBef>
              <a:buFont typeface="Arial" charset="0"/>
              <a:buChar char="•"/>
              <a:defRPr/>
            </a:pPr>
            <a:endParaRPr lang="en-US" sz="1400" dirty="0">
              <a:solidFill>
                <a:srgbClr val="002776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1D41C6E-CC0E-4E96-B8E7-A7BCB3251535}"/>
              </a:ext>
            </a:extLst>
          </p:cNvPr>
          <p:cNvSpPr txBox="1"/>
          <p:nvPr/>
        </p:nvSpPr>
        <p:spPr>
          <a:xfrm>
            <a:off x="4462669" y="2526584"/>
            <a:ext cx="21286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</a:rPr>
              <a:t>Min Processing Time (hrs.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1CEAF7-6F06-4FF2-A4DD-344015A7E311}"/>
              </a:ext>
            </a:extLst>
          </p:cNvPr>
          <p:cNvSpPr txBox="1"/>
          <p:nvPr/>
        </p:nvSpPr>
        <p:spPr>
          <a:xfrm>
            <a:off x="4684021" y="2870950"/>
            <a:ext cx="16859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</a:rPr>
              <a:t>Total SLA (hrs.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43D316-6D70-42AF-89C2-F0A7593EF899}"/>
              </a:ext>
            </a:extLst>
          </p:cNvPr>
          <p:cNvSpPr txBox="1"/>
          <p:nvPr/>
        </p:nvSpPr>
        <p:spPr>
          <a:xfrm>
            <a:off x="4505531" y="3591056"/>
            <a:ext cx="20429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</a:rPr>
              <a:t>Operational Expenses($)</a:t>
            </a:r>
          </a:p>
        </p:txBody>
      </p:sp>
      <p:sp>
        <p:nvSpPr>
          <p:cNvPr id="17" name="Text Box 10">
            <a:extLst>
              <a:ext uri="{FF2B5EF4-FFF2-40B4-BE49-F238E27FC236}">
                <a16:creationId xmlns:a16="http://schemas.microsoft.com/office/drawing/2014/main" id="{6DE90865-1833-4672-A91E-E19A12D32C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51194" y="1336634"/>
            <a:ext cx="4482273" cy="246564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3"/>
            </a:solidFill>
            <a:miter lim="800000"/>
            <a:headEnd/>
            <a:tailEnd type="none" w="sm" len="med"/>
          </a:ln>
        </p:spPr>
        <p:txBody>
          <a:bodyPr lIns="57307" tIns="51424" rIns="57307" bIns="51424" anchor="ctr" anchorCtr="1"/>
          <a:lstStyle/>
          <a:p>
            <a:pPr defTabSz="1367395"/>
            <a:r>
              <a:rPr lang="en-US" sz="1400" b="1" dirty="0">
                <a:solidFill>
                  <a:srgbClr val="FFFFFF"/>
                </a:solidFill>
              </a:rPr>
              <a:t>Process Measures and Economics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44834930-A68E-464E-8D8B-785AB3E34F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3239940"/>
              </p:ext>
            </p:extLst>
          </p:nvPr>
        </p:nvGraphicFramePr>
        <p:xfrm>
          <a:off x="6505574" y="1953451"/>
          <a:ext cx="2527893" cy="2372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26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26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26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G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IG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% Increa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rgbClr val="000000"/>
                          </a:solidFill>
                        </a:rPr>
                        <a:t>&lt;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000000"/>
                          </a:solidFill>
                        </a:rPr>
                        <a:t>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000000"/>
                          </a:solidFill>
                        </a:rPr>
                        <a:t>1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1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000000"/>
                          </a:solidFill>
                        </a:rPr>
                        <a:t>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000000"/>
                          </a:solidFill>
                        </a:rPr>
                        <a:t>1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000000"/>
                          </a:solidFill>
                        </a:rPr>
                        <a:t>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1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B4AF5F24-2290-41D4-AFD4-FB8536876936}"/>
              </a:ext>
            </a:extLst>
          </p:cNvPr>
          <p:cNvSpPr txBox="1"/>
          <p:nvPr/>
        </p:nvSpPr>
        <p:spPr>
          <a:xfrm>
            <a:off x="4462669" y="3257654"/>
            <a:ext cx="21286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>
                <a:solidFill>
                  <a:srgbClr val="000000"/>
                </a:solidFill>
              </a:rPr>
              <a:t>Avg</a:t>
            </a:r>
            <a:r>
              <a:rPr lang="en-US" sz="1400" dirty="0">
                <a:solidFill>
                  <a:srgbClr val="000000"/>
                </a:solidFill>
              </a:rPr>
              <a:t> Processing Time (hrs.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063FAA2-7E14-4B38-AE54-D76283A91E1F}"/>
              </a:ext>
            </a:extLst>
          </p:cNvPr>
          <p:cNvSpPr txBox="1"/>
          <p:nvPr/>
        </p:nvSpPr>
        <p:spPr>
          <a:xfrm>
            <a:off x="4526387" y="4003961"/>
            <a:ext cx="20429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</a:rPr>
              <a:t>Max Number of handoffs</a:t>
            </a:r>
          </a:p>
        </p:txBody>
      </p:sp>
    </p:spTree>
    <p:extLst>
      <p:ext uri="{BB962C8B-B14F-4D97-AF65-F5344CB8AC3E}">
        <p14:creationId xmlns:p14="http://schemas.microsoft.com/office/powerpoint/2010/main" val="1997842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383E85F2-9CF0-4588-BD4B-8BA2782CF7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38929"/>
              </p:ext>
            </p:extLst>
          </p:nvPr>
        </p:nvGraphicFramePr>
        <p:xfrm>
          <a:off x="385550" y="970707"/>
          <a:ext cx="7786900" cy="34869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810914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7703EF9-701D-408C-8489-10291642D1BD}"/>
              </a:ext>
            </a:extLst>
          </p:cNvPr>
          <p:cNvSpPr txBox="1">
            <a:spLocks/>
          </p:cNvSpPr>
          <p:nvPr/>
        </p:nvSpPr>
        <p:spPr>
          <a:xfrm>
            <a:off x="230187" y="423863"/>
            <a:ext cx="8713787" cy="5778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>
                <a:latin typeface="+mj-lt"/>
              </a:rPr>
              <a:t>These overarching solutions gear toward maximizing the operational efficiency</a:t>
            </a:r>
            <a:endParaRPr lang="en-US" sz="2000" dirty="0">
              <a:latin typeface="+mj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D4B04B6-ECD7-4D73-8215-4FA814D83942}"/>
              </a:ext>
            </a:extLst>
          </p:cNvPr>
          <p:cNvGrpSpPr>
            <a:grpSpLocks/>
          </p:cNvGrpSpPr>
          <p:nvPr/>
        </p:nvGrpSpPr>
        <p:grpSpPr bwMode="auto">
          <a:xfrm>
            <a:off x="2299932" y="960936"/>
            <a:ext cx="4963404" cy="4182564"/>
            <a:chOff x="557" y="1281"/>
            <a:chExt cx="2291" cy="2108"/>
          </a:xfrm>
        </p:grpSpPr>
        <p:sp>
          <p:nvSpPr>
            <p:cNvPr id="6" name="Freeform 20">
              <a:extLst>
                <a:ext uri="{FF2B5EF4-FFF2-40B4-BE49-F238E27FC236}">
                  <a16:creationId xmlns:a16="http://schemas.microsoft.com/office/drawing/2014/main" id="{684E4740-C5E6-480A-8254-2855653DC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" y="1281"/>
              <a:ext cx="1453" cy="1054"/>
            </a:xfrm>
            <a:custGeom>
              <a:avLst/>
              <a:gdLst>
                <a:gd name="T0" fmla="*/ 0 w 2312"/>
                <a:gd name="T1" fmla="*/ 0 h 1823"/>
                <a:gd name="T2" fmla="*/ 178 w 2312"/>
                <a:gd name="T3" fmla="*/ 0 h 1823"/>
                <a:gd name="T4" fmla="*/ 178 w 2312"/>
                <a:gd name="T5" fmla="*/ 43 h 1823"/>
                <a:gd name="T6" fmla="*/ 198 w 2312"/>
                <a:gd name="T7" fmla="*/ 39 h 1823"/>
                <a:gd name="T8" fmla="*/ 226 w 2312"/>
                <a:gd name="T9" fmla="*/ 60 h 1823"/>
                <a:gd name="T10" fmla="*/ 202 w 2312"/>
                <a:gd name="T11" fmla="*/ 77 h 1823"/>
                <a:gd name="T12" fmla="*/ 178 w 2312"/>
                <a:gd name="T13" fmla="*/ 75 h 1823"/>
                <a:gd name="T14" fmla="*/ 178 w 2312"/>
                <a:gd name="T15" fmla="*/ 118 h 1823"/>
                <a:gd name="T16" fmla="*/ 112 w 2312"/>
                <a:gd name="T17" fmla="*/ 118 h 1823"/>
                <a:gd name="T18" fmla="*/ 118 w 2312"/>
                <a:gd name="T19" fmla="*/ 102 h 1823"/>
                <a:gd name="T20" fmla="*/ 90 w 2312"/>
                <a:gd name="T21" fmla="*/ 87 h 1823"/>
                <a:gd name="T22" fmla="*/ 60 w 2312"/>
                <a:gd name="T23" fmla="*/ 105 h 1823"/>
                <a:gd name="T24" fmla="*/ 66 w 2312"/>
                <a:gd name="T25" fmla="*/ 118 h 1823"/>
                <a:gd name="T26" fmla="*/ 0 w 2312"/>
                <a:gd name="T27" fmla="*/ 118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776"/>
            </a:solidFill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7" name="Freeform 21">
              <a:extLst>
                <a:ext uri="{FF2B5EF4-FFF2-40B4-BE49-F238E27FC236}">
                  <a16:creationId xmlns:a16="http://schemas.microsoft.com/office/drawing/2014/main" id="{905A0858-9BE2-4529-9956-7D41382AD34A}"/>
                </a:ext>
              </a:extLst>
            </p:cNvPr>
            <p:cNvSpPr>
              <a:spLocks/>
            </p:cNvSpPr>
            <p:nvPr/>
          </p:nvSpPr>
          <p:spPr bwMode="auto">
            <a:xfrm rot="-5400000">
              <a:off x="460" y="2148"/>
              <a:ext cx="1337" cy="1144"/>
            </a:xfrm>
            <a:custGeom>
              <a:avLst/>
              <a:gdLst>
                <a:gd name="T0" fmla="*/ 0 w 2312"/>
                <a:gd name="T1" fmla="*/ 0 h 1823"/>
                <a:gd name="T2" fmla="*/ 1054 w 2312"/>
                <a:gd name="T3" fmla="*/ 0 h 1823"/>
                <a:gd name="T4" fmla="*/ 1054 w 2312"/>
                <a:gd name="T5" fmla="*/ 422 h 1823"/>
                <a:gd name="T6" fmla="*/ 1168 w 2312"/>
                <a:gd name="T7" fmla="*/ 380 h 1823"/>
                <a:gd name="T8" fmla="*/ 1335 w 2312"/>
                <a:gd name="T9" fmla="*/ 578 h 1823"/>
                <a:gd name="T10" fmla="*/ 1190 w 2312"/>
                <a:gd name="T11" fmla="*/ 755 h 1823"/>
                <a:gd name="T12" fmla="*/ 1054 w 2312"/>
                <a:gd name="T13" fmla="*/ 727 h 1823"/>
                <a:gd name="T14" fmla="*/ 1054 w 2312"/>
                <a:gd name="T15" fmla="*/ 1144 h 1823"/>
                <a:gd name="T16" fmla="*/ 666 w 2312"/>
                <a:gd name="T17" fmla="*/ 1144 h 1823"/>
                <a:gd name="T18" fmla="*/ 694 w 2312"/>
                <a:gd name="T19" fmla="*/ 994 h 1823"/>
                <a:gd name="T20" fmla="*/ 530 w 2312"/>
                <a:gd name="T21" fmla="*/ 843 h 1823"/>
                <a:gd name="T22" fmla="*/ 352 w 2312"/>
                <a:gd name="T23" fmla="*/ 1017 h 1823"/>
                <a:gd name="T24" fmla="*/ 388 w 2312"/>
                <a:gd name="T25" fmla="*/ 1144 h 1823"/>
                <a:gd name="T26" fmla="*/ 0 w 2312"/>
                <a:gd name="T27" fmla="*/ 1144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C8A2E"/>
            </a:solidFill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8" name="Freeform 22">
              <a:extLst>
                <a:ext uri="{FF2B5EF4-FFF2-40B4-BE49-F238E27FC236}">
                  <a16:creationId xmlns:a16="http://schemas.microsoft.com/office/drawing/2014/main" id="{8DD009F1-D0CE-47AB-826F-89A08D6C24A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396" y="2335"/>
              <a:ext cx="1452" cy="1054"/>
            </a:xfrm>
            <a:custGeom>
              <a:avLst/>
              <a:gdLst>
                <a:gd name="T0" fmla="*/ 0 w 2312"/>
                <a:gd name="T1" fmla="*/ 0 h 1823"/>
                <a:gd name="T2" fmla="*/ 1144 w 2312"/>
                <a:gd name="T3" fmla="*/ 0 h 1823"/>
                <a:gd name="T4" fmla="*/ 1144 w 2312"/>
                <a:gd name="T5" fmla="*/ 389 h 1823"/>
                <a:gd name="T6" fmla="*/ 1269 w 2312"/>
                <a:gd name="T7" fmla="*/ 350 h 1823"/>
                <a:gd name="T8" fmla="*/ 1449 w 2312"/>
                <a:gd name="T9" fmla="*/ 532 h 1823"/>
                <a:gd name="T10" fmla="*/ 1292 w 2312"/>
                <a:gd name="T11" fmla="*/ 696 h 1823"/>
                <a:gd name="T12" fmla="*/ 1144 w 2312"/>
                <a:gd name="T13" fmla="*/ 670 h 1823"/>
                <a:gd name="T14" fmla="*/ 1144 w 2312"/>
                <a:gd name="T15" fmla="*/ 1054 h 1823"/>
                <a:gd name="T16" fmla="*/ 723 w 2312"/>
                <a:gd name="T17" fmla="*/ 1054 h 1823"/>
                <a:gd name="T18" fmla="*/ 754 w 2312"/>
                <a:gd name="T19" fmla="*/ 916 h 1823"/>
                <a:gd name="T20" fmla="*/ 575 w 2312"/>
                <a:gd name="T21" fmla="*/ 777 h 1823"/>
                <a:gd name="T22" fmla="*/ 382 w 2312"/>
                <a:gd name="T23" fmla="*/ 937 h 1823"/>
                <a:gd name="T24" fmla="*/ 421 w 2312"/>
                <a:gd name="T25" fmla="*/ 1054 h 1823"/>
                <a:gd name="T26" fmla="*/ 0 w 2312"/>
                <a:gd name="T27" fmla="*/ 1054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9" name="Freeform 23">
              <a:extLst>
                <a:ext uri="{FF2B5EF4-FFF2-40B4-BE49-F238E27FC236}">
                  <a16:creationId xmlns:a16="http://schemas.microsoft.com/office/drawing/2014/main" id="{BAEABD4F-1009-447C-9747-3AC5AFA02565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608" y="1378"/>
              <a:ext cx="1337" cy="1143"/>
            </a:xfrm>
            <a:custGeom>
              <a:avLst/>
              <a:gdLst>
                <a:gd name="T0" fmla="*/ 0 w 2312"/>
                <a:gd name="T1" fmla="*/ 0 h 1823"/>
                <a:gd name="T2" fmla="*/ 118 w 2312"/>
                <a:gd name="T3" fmla="*/ 0 h 1823"/>
                <a:gd name="T4" fmla="*/ 118 w 2312"/>
                <a:gd name="T5" fmla="*/ 65 h 1823"/>
                <a:gd name="T6" fmla="*/ 131 w 2312"/>
                <a:gd name="T7" fmla="*/ 58 h 1823"/>
                <a:gd name="T8" fmla="*/ 149 w 2312"/>
                <a:gd name="T9" fmla="*/ 89 h 1823"/>
                <a:gd name="T10" fmla="*/ 133 w 2312"/>
                <a:gd name="T11" fmla="*/ 117 h 1823"/>
                <a:gd name="T12" fmla="*/ 118 w 2312"/>
                <a:gd name="T13" fmla="*/ 112 h 1823"/>
                <a:gd name="T14" fmla="*/ 118 w 2312"/>
                <a:gd name="T15" fmla="*/ 177 h 1823"/>
                <a:gd name="T16" fmla="*/ 75 w 2312"/>
                <a:gd name="T17" fmla="*/ 177 h 1823"/>
                <a:gd name="T18" fmla="*/ 77 w 2312"/>
                <a:gd name="T19" fmla="*/ 154 h 1823"/>
                <a:gd name="T20" fmla="*/ 59 w 2312"/>
                <a:gd name="T21" fmla="*/ 130 h 1823"/>
                <a:gd name="T22" fmla="*/ 39 w 2312"/>
                <a:gd name="T23" fmla="*/ 157 h 1823"/>
                <a:gd name="T24" fmla="*/ 43 w 2312"/>
                <a:gd name="T25" fmla="*/ 177 h 1823"/>
                <a:gd name="T26" fmla="*/ 0 w 2312"/>
                <a:gd name="T27" fmla="*/ 177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D400"/>
            </a:solidFill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9D873A3-2561-4E14-ACCE-18B67FF10EF9}"/>
              </a:ext>
            </a:extLst>
          </p:cNvPr>
          <p:cNvSpPr txBox="1"/>
          <p:nvPr/>
        </p:nvSpPr>
        <p:spPr>
          <a:xfrm>
            <a:off x="5488461" y="1543339"/>
            <a:ext cx="26066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          </a:t>
            </a:r>
            <a:r>
              <a:rPr lang="en-US" b="1" dirty="0">
                <a:solidFill>
                  <a:schemeClr val="bg1"/>
                </a:solidFill>
              </a:rPr>
              <a:t>NIGO </a:t>
            </a:r>
          </a:p>
          <a:p>
            <a:r>
              <a:rPr lang="en-US" b="1" dirty="0">
                <a:solidFill>
                  <a:schemeClr val="bg1"/>
                </a:solidFill>
              </a:rPr>
              <a:t>    Management</a:t>
            </a:r>
            <a:r>
              <a:rPr lang="en-US" b="1" dirty="0"/>
              <a:t> </a:t>
            </a:r>
          </a:p>
          <a:p>
            <a:r>
              <a:rPr lang="en-US" b="1" dirty="0">
                <a:solidFill>
                  <a:schemeClr val="bg1"/>
                </a:solidFill>
              </a:rPr>
              <a:t>           Tea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C25B20C-3524-48BF-8F79-E01AAF85ACD4}"/>
              </a:ext>
            </a:extLst>
          </p:cNvPr>
          <p:cNvSpPr txBox="1"/>
          <p:nvPr/>
        </p:nvSpPr>
        <p:spPr>
          <a:xfrm>
            <a:off x="2400324" y="1478578"/>
            <a:ext cx="26066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          </a:t>
            </a:r>
            <a:r>
              <a:rPr lang="en-US" b="1" dirty="0">
                <a:solidFill>
                  <a:schemeClr val="bg1"/>
                </a:solidFill>
              </a:rPr>
              <a:t>NIGO Resistant</a:t>
            </a:r>
          </a:p>
          <a:p>
            <a:r>
              <a:rPr lang="en-US" b="1" dirty="0">
                <a:solidFill>
                  <a:schemeClr val="bg1"/>
                </a:solidFill>
              </a:rPr>
              <a:t>         Form Submiss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A48D3A-7AFC-406A-836C-41E27C3354C0}"/>
              </a:ext>
            </a:extLst>
          </p:cNvPr>
          <p:cNvSpPr txBox="1"/>
          <p:nvPr/>
        </p:nvSpPr>
        <p:spPr>
          <a:xfrm>
            <a:off x="2587356" y="3505099"/>
            <a:ext cx="26066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          </a:t>
            </a:r>
            <a:r>
              <a:rPr lang="en-US" b="1" dirty="0">
                <a:solidFill>
                  <a:schemeClr val="bg1"/>
                </a:solidFill>
              </a:rPr>
              <a:t>Process </a:t>
            </a:r>
          </a:p>
          <a:p>
            <a:r>
              <a:rPr lang="en-US" b="1" dirty="0">
                <a:solidFill>
                  <a:schemeClr val="bg1"/>
                </a:solidFill>
              </a:rPr>
              <a:t>        Ownership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1EB5C8F-2F7A-4505-A06B-BA056B24432E}"/>
              </a:ext>
            </a:extLst>
          </p:cNvPr>
          <p:cNvSpPr txBox="1"/>
          <p:nvPr/>
        </p:nvSpPr>
        <p:spPr>
          <a:xfrm>
            <a:off x="5083623" y="3578422"/>
            <a:ext cx="26066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          </a:t>
            </a:r>
            <a:r>
              <a:rPr lang="en-US" b="1" dirty="0">
                <a:solidFill>
                  <a:schemeClr val="bg1"/>
                </a:solidFill>
              </a:rPr>
              <a:t>Capacity Reallocation to India</a:t>
            </a:r>
          </a:p>
        </p:txBody>
      </p:sp>
    </p:spTree>
    <p:extLst>
      <p:ext uri="{BB962C8B-B14F-4D97-AF65-F5344CB8AC3E}">
        <p14:creationId xmlns:p14="http://schemas.microsoft.com/office/powerpoint/2010/main" val="3334020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CE8D1E-FB31-471A-B193-F98E59EB7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5E2EB0-710F-40CC-BE05-F29AB16C07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4" name="Group 73">
            <a:extLst>
              <a:ext uri="{FF2B5EF4-FFF2-40B4-BE49-F238E27FC236}">
                <a16:creationId xmlns:a16="http://schemas.microsoft.com/office/drawing/2014/main" id="{7578F408-BDAD-4EC4-8A36-E1033275700F}"/>
              </a:ext>
            </a:extLst>
          </p:cNvPr>
          <p:cNvGrpSpPr/>
          <p:nvPr/>
        </p:nvGrpSpPr>
        <p:grpSpPr>
          <a:xfrm>
            <a:off x="5417566" y="787076"/>
            <a:ext cx="3686131" cy="3384874"/>
            <a:chOff x="3375025" y="3696794"/>
            <a:chExt cx="2387600" cy="2282825"/>
          </a:xfrm>
        </p:grpSpPr>
        <p:sp>
          <p:nvSpPr>
            <p:cNvPr id="5" name="Freeform 19">
              <a:extLst>
                <a:ext uri="{FF2B5EF4-FFF2-40B4-BE49-F238E27FC236}">
                  <a16:creationId xmlns:a16="http://schemas.microsoft.com/office/drawing/2014/main" id="{374DE48D-C0A2-4C8F-BC92-71B210DB3FF0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3617913" y="3696794"/>
              <a:ext cx="1195387" cy="974725"/>
            </a:xfrm>
            <a:custGeom>
              <a:avLst/>
              <a:gdLst>
                <a:gd name="T0" fmla="*/ 2147483647 w 973"/>
                <a:gd name="T1" fmla="*/ 2147483647 h 805"/>
                <a:gd name="T2" fmla="*/ 2147483647 w 973"/>
                <a:gd name="T3" fmla="*/ 2147483647 h 805"/>
                <a:gd name="T4" fmla="*/ 2147483647 w 973"/>
                <a:gd name="T5" fmla="*/ 2147483647 h 805"/>
                <a:gd name="T6" fmla="*/ 2147483647 w 973"/>
                <a:gd name="T7" fmla="*/ 2147483647 h 805"/>
                <a:gd name="T8" fmla="*/ 2147483647 w 973"/>
                <a:gd name="T9" fmla="*/ 2147483647 h 805"/>
                <a:gd name="T10" fmla="*/ 2147483647 w 973"/>
                <a:gd name="T11" fmla="*/ 2147483647 h 805"/>
                <a:gd name="T12" fmla="*/ 2147483647 w 973"/>
                <a:gd name="T13" fmla="*/ 2147483647 h 805"/>
                <a:gd name="T14" fmla="*/ 2147483647 w 973"/>
                <a:gd name="T15" fmla="*/ 2147483647 h 805"/>
                <a:gd name="T16" fmla="*/ 2147483647 w 973"/>
                <a:gd name="T17" fmla="*/ 2147483647 h 805"/>
                <a:gd name="T18" fmla="*/ 2147483647 w 973"/>
                <a:gd name="T19" fmla="*/ 2147483647 h 805"/>
                <a:gd name="T20" fmla="*/ 2147483647 w 973"/>
                <a:gd name="T21" fmla="*/ 2147483647 h 805"/>
                <a:gd name="T22" fmla="*/ 2147483647 w 973"/>
                <a:gd name="T23" fmla="*/ 2147483647 h 805"/>
                <a:gd name="T24" fmla="*/ 2147483647 w 973"/>
                <a:gd name="T25" fmla="*/ 2147483647 h 805"/>
                <a:gd name="T26" fmla="*/ 2147483647 w 973"/>
                <a:gd name="T27" fmla="*/ 0 h 805"/>
                <a:gd name="T28" fmla="*/ 2147483647 w 973"/>
                <a:gd name="T29" fmla="*/ 2147483647 h 805"/>
                <a:gd name="T30" fmla="*/ 2147483647 w 973"/>
                <a:gd name="T31" fmla="*/ 2147483647 h 805"/>
                <a:gd name="T32" fmla="*/ 2147483647 w 973"/>
                <a:gd name="T33" fmla="*/ 2147483647 h 805"/>
                <a:gd name="T34" fmla="*/ 2147483647 w 973"/>
                <a:gd name="T35" fmla="*/ 2147483647 h 805"/>
                <a:gd name="T36" fmla="*/ 2147483647 w 973"/>
                <a:gd name="T37" fmla="*/ 2147483647 h 805"/>
                <a:gd name="T38" fmla="*/ 2147483647 w 973"/>
                <a:gd name="T39" fmla="*/ 2147483647 h 805"/>
                <a:gd name="T40" fmla="*/ 2147483647 w 973"/>
                <a:gd name="T41" fmla="*/ 2147483647 h 805"/>
                <a:gd name="T42" fmla="*/ 2147483647 w 973"/>
                <a:gd name="T43" fmla="*/ 2147483647 h 805"/>
                <a:gd name="T44" fmla="*/ 2147483647 w 973"/>
                <a:gd name="T45" fmla="*/ 2147483647 h 805"/>
                <a:gd name="T46" fmla="*/ 2147483647 w 973"/>
                <a:gd name="T47" fmla="*/ 2147483647 h 805"/>
                <a:gd name="T48" fmla="*/ 2147483647 w 973"/>
                <a:gd name="T49" fmla="*/ 2147483647 h 805"/>
                <a:gd name="T50" fmla="*/ 2147483647 w 973"/>
                <a:gd name="T51" fmla="*/ 2147483647 h 805"/>
                <a:gd name="T52" fmla="*/ 2147483647 w 973"/>
                <a:gd name="T53" fmla="*/ 2147483647 h 805"/>
                <a:gd name="T54" fmla="*/ 2147483647 w 973"/>
                <a:gd name="T55" fmla="*/ 2147483647 h 805"/>
                <a:gd name="T56" fmla="*/ 2147483647 w 973"/>
                <a:gd name="T57" fmla="*/ 2147483647 h 805"/>
                <a:gd name="T58" fmla="*/ 0 w 973"/>
                <a:gd name="T59" fmla="*/ 2147483647 h 805"/>
                <a:gd name="T60" fmla="*/ 2147483647 w 973"/>
                <a:gd name="T61" fmla="*/ 2147483647 h 805"/>
                <a:gd name="T62" fmla="*/ 2147483647 w 973"/>
                <a:gd name="T63" fmla="*/ 2147483647 h 80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73"/>
                <a:gd name="T97" fmla="*/ 0 h 805"/>
                <a:gd name="T98" fmla="*/ 973 w 973"/>
                <a:gd name="T99" fmla="*/ 805 h 80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73" h="805">
                  <a:moveTo>
                    <a:pt x="402" y="804"/>
                  </a:moveTo>
                  <a:lnTo>
                    <a:pt x="424" y="765"/>
                  </a:lnTo>
                  <a:lnTo>
                    <a:pt x="450" y="730"/>
                  </a:lnTo>
                  <a:lnTo>
                    <a:pt x="479" y="698"/>
                  </a:lnTo>
                  <a:lnTo>
                    <a:pt x="512" y="668"/>
                  </a:lnTo>
                  <a:lnTo>
                    <a:pt x="548" y="642"/>
                  </a:lnTo>
                  <a:lnTo>
                    <a:pt x="583" y="621"/>
                  </a:lnTo>
                  <a:lnTo>
                    <a:pt x="620" y="603"/>
                  </a:lnTo>
                  <a:lnTo>
                    <a:pt x="660" y="589"/>
                  </a:lnTo>
                  <a:lnTo>
                    <a:pt x="699" y="579"/>
                  </a:lnTo>
                  <a:lnTo>
                    <a:pt x="740" y="572"/>
                  </a:lnTo>
                  <a:lnTo>
                    <a:pt x="752" y="722"/>
                  </a:lnTo>
                  <a:lnTo>
                    <a:pt x="972" y="356"/>
                  </a:lnTo>
                  <a:lnTo>
                    <a:pt x="712" y="0"/>
                  </a:lnTo>
                  <a:lnTo>
                    <a:pt x="713" y="134"/>
                  </a:lnTo>
                  <a:lnTo>
                    <a:pt x="651" y="142"/>
                  </a:lnTo>
                  <a:lnTo>
                    <a:pt x="590" y="154"/>
                  </a:lnTo>
                  <a:lnTo>
                    <a:pt x="530" y="170"/>
                  </a:lnTo>
                  <a:lnTo>
                    <a:pt x="471" y="191"/>
                  </a:lnTo>
                  <a:lnTo>
                    <a:pt x="414" y="216"/>
                  </a:lnTo>
                  <a:lnTo>
                    <a:pt x="359" y="245"/>
                  </a:lnTo>
                  <a:lnTo>
                    <a:pt x="305" y="278"/>
                  </a:lnTo>
                  <a:lnTo>
                    <a:pt x="257" y="312"/>
                  </a:lnTo>
                  <a:lnTo>
                    <a:pt x="212" y="349"/>
                  </a:lnTo>
                  <a:lnTo>
                    <a:pt x="170" y="390"/>
                  </a:lnTo>
                  <a:lnTo>
                    <a:pt x="129" y="432"/>
                  </a:lnTo>
                  <a:lnTo>
                    <a:pt x="92" y="478"/>
                  </a:lnTo>
                  <a:lnTo>
                    <a:pt x="58" y="526"/>
                  </a:lnTo>
                  <a:lnTo>
                    <a:pt x="27" y="576"/>
                  </a:lnTo>
                  <a:lnTo>
                    <a:pt x="0" y="628"/>
                  </a:lnTo>
                  <a:lnTo>
                    <a:pt x="264" y="607"/>
                  </a:lnTo>
                  <a:lnTo>
                    <a:pt x="402" y="804"/>
                  </a:lnTo>
                </a:path>
              </a:pathLst>
            </a:custGeom>
            <a:solidFill>
              <a:schemeClr val="tx2"/>
            </a:solidFill>
            <a:ln w="12700" cap="rnd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364" fontAlgn="auto">
                <a:spcBef>
                  <a:spcPct val="20000"/>
                </a:spcBef>
                <a:spcAft>
                  <a:spcPts val="0"/>
                </a:spcAft>
                <a:defRPr/>
              </a:pPr>
              <a:endParaRPr lang="en-GB" sz="1200" b="1" kern="0">
                <a:solidFill>
                  <a:srgbClr val="002776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6" name="Freeform 20">
              <a:extLst>
                <a:ext uri="{FF2B5EF4-FFF2-40B4-BE49-F238E27FC236}">
                  <a16:creationId xmlns:a16="http://schemas.microsoft.com/office/drawing/2014/main" id="{09F061EF-9EBF-492D-91F5-32CFCBCA1657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4679950" y="3858719"/>
              <a:ext cx="1082675" cy="992187"/>
            </a:xfrm>
            <a:custGeom>
              <a:avLst/>
              <a:gdLst>
                <a:gd name="T0" fmla="*/ 2147483647 w 881"/>
                <a:gd name="T1" fmla="*/ 2147483647 h 819"/>
                <a:gd name="T2" fmla="*/ 2147483647 w 881"/>
                <a:gd name="T3" fmla="*/ 2147483647 h 819"/>
                <a:gd name="T4" fmla="*/ 2147483647 w 881"/>
                <a:gd name="T5" fmla="*/ 2147483647 h 819"/>
                <a:gd name="T6" fmla="*/ 2147483647 w 881"/>
                <a:gd name="T7" fmla="*/ 2147483647 h 819"/>
                <a:gd name="T8" fmla="*/ 2147483647 w 881"/>
                <a:gd name="T9" fmla="*/ 2147483647 h 819"/>
                <a:gd name="T10" fmla="*/ 2147483647 w 881"/>
                <a:gd name="T11" fmla="*/ 2147483647 h 819"/>
                <a:gd name="T12" fmla="*/ 2147483647 w 881"/>
                <a:gd name="T13" fmla="*/ 2147483647 h 819"/>
                <a:gd name="T14" fmla="*/ 2147483647 w 881"/>
                <a:gd name="T15" fmla="*/ 2147483647 h 819"/>
                <a:gd name="T16" fmla="*/ 2147483647 w 881"/>
                <a:gd name="T17" fmla="*/ 2147483647 h 819"/>
                <a:gd name="T18" fmla="*/ 2147483647 w 881"/>
                <a:gd name="T19" fmla="*/ 2147483647 h 819"/>
                <a:gd name="T20" fmla="*/ 2147483647 w 881"/>
                <a:gd name="T21" fmla="*/ 2147483647 h 819"/>
                <a:gd name="T22" fmla="*/ 2147483647 w 881"/>
                <a:gd name="T23" fmla="*/ 2147483647 h 819"/>
                <a:gd name="T24" fmla="*/ 2147483647 w 881"/>
                <a:gd name="T25" fmla="*/ 2147483647 h 819"/>
                <a:gd name="T26" fmla="*/ 2147483647 w 881"/>
                <a:gd name="T27" fmla="*/ 2147483647 h 819"/>
                <a:gd name="T28" fmla="*/ 2147483647 w 881"/>
                <a:gd name="T29" fmla="*/ 2147483647 h 819"/>
                <a:gd name="T30" fmla="*/ 2147483647 w 881"/>
                <a:gd name="T31" fmla="*/ 2147483647 h 819"/>
                <a:gd name="T32" fmla="*/ 2147483647 w 881"/>
                <a:gd name="T33" fmla="*/ 2147483647 h 819"/>
                <a:gd name="T34" fmla="*/ 2147483647 w 881"/>
                <a:gd name="T35" fmla="*/ 2147483647 h 819"/>
                <a:gd name="T36" fmla="*/ 2147483647 w 881"/>
                <a:gd name="T37" fmla="*/ 2147483647 h 819"/>
                <a:gd name="T38" fmla="*/ 2147483647 w 881"/>
                <a:gd name="T39" fmla="*/ 2147483647 h 819"/>
                <a:gd name="T40" fmla="*/ 0 w 881"/>
                <a:gd name="T41" fmla="*/ 0 h 819"/>
                <a:gd name="T42" fmla="*/ 2147483647 w 881"/>
                <a:gd name="T43" fmla="*/ 2147483647 h 819"/>
                <a:gd name="T44" fmla="*/ 2147483647 w 881"/>
                <a:gd name="T45" fmla="*/ 2147483647 h 819"/>
                <a:gd name="T46" fmla="*/ 2147483647 w 881"/>
                <a:gd name="T47" fmla="*/ 2147483647 h 819"/>
                <a:gd name="T48" fmla="*/ 2147483647 w 881"/>
                <a:gd name="T49" fmla="*/ 2147483647 h 819"/>
                <a:gd name="T50" fmla="*/ 2147483647 w 881"/>
                <a:gd name="T51" fmla="*/ 2147483647 h 819"/>
                <a:gd name="T52" fmla="*/ 2147483647 w 881"/>
                <a:gd name="T53" fmla="*/ 2147483647 h 819"/>
                <a:gd name="T54" fmla="*/ 2147483647 w 881"/>
                <a:gd name="T55" fmla="*/ 2147483647 h 819"/>
                <a:gd name="T56" fmla="*/ 2147483647 w 881"/>
                <a:gd name="T57" fmla="*/ 2147483647 h 819"/>
                <a:gd name="T58" fmla="*/ 2147483647 w 881"/>
                <a:gd name="T59" fmla="*/ 2147483647 h 819"/>
                <a:gd name="T60" fmla="*/ 2147483647 w 881"/>
                <a:gd name="T61" fmla="*/ 2147483647 h 819"/>
                <a:gd name="T62" fmla="*/ 2147483647 w 881"/>
                <a:gd name="T63" fmla="*/ 2147483647 h 819"/>
                <a:gd name="T64" fmla="*/ 2147483647 w 881"/>
                <a:gd name="T65" fmla="*/ 2147483647 h 8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81"/>
                <a:gd name="T100" fmla="*/ 0 h 819"/>
                <a:gd name="T101" fmla="*/ 881 w 881"/>
                <a:gd name="T102" fmla="*/ 819 h 8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81" h="819">
                  <a:moveTo>
                    <a:pt x="583" y="818"/>
                  </a:moveTo>
                  <a:lnTo>
                    <a:pt x="685" y="715"/>
                  </a:lnTo>
                  <a:lnTo>
                    <a:pt x="784" y="609"/>
                  </a:lnTo>
                  <a:lnTo>
                    <a:pt x="880" y="502"/>
                  </a:lnTo>
                  <a:lnTo>
                    <a:pt x="734" y="542"/>
                  </a:lnTo>
                  <a:lnTo>
                    <a:pt x="709" y="487"/>
                  </a:lnTo>
                  <a:lnTo>
                    <a:pt x="681" y="433"/>
                  </a:lnTo>
                  <a:lnTo>
                    <a:pt x="650" y="383"/>
                  </a:lnTo>
                  <a:lnTo>
                    <a:pt x="615" y="334"/>
                  </a:lnTo>
                  <a:lnTo>
                    <a:pt x="576" y="288"/>
                  </a:lnTo>
                  <a:lnTo>
                    <a:pt x="534" y="245"/>
                  </a:lnTo>
                  <a:lnTo>
                    <a:pt x="490" y="204"/>
                  </a:lnTo>
                  <a:lnTo>
                    <a:pt x="443" y="168"/>
                  </a:lnTo>
                  <a:lnTo>
                    <a:pt x="393" y="133"/>
                  </a:lnTo>
                  <a:lnTo>
                    <a:pt x="342" y="103"/>
                  </a:lnTo>
                  <a:lnTo>
                    <a:pt x="288" y="76"/>
                  </a:lnTo>
                  <a:lnTo>
                    <a:pt x="233" y="54"/>
                  </a:lnTo>
                  <a:lnTo>
                    <a:pt x="176" y="34"/>
                  </a:lnTo>
                  <a:lnTo>
                    <a:pt x="118" y="19"/>
                  </a:lnTo>
                  <a:lnTo>
                    <a:pt x="60" y="8"/>
                  </a:lnTo>
                  <a:lnTo>
                    <a:pt x="0" y="0"/>
                  </a:lnTo>
                  <a:lnTo>
                    <a:pt x="147" y="218"/>
                  </a:lnTo>
                  <a:lnTo>
                    <a:pt x="27" y="444"/>
                  </a:lnTo>
                  <a:lnTo>
                    <a:pt x="70" y="456"/>
                  </a:lnTo>
                  <a:lnTo>
                    <a:pt x="111" y="474"/>
                  </a:lnTo>
                  <a:lnTo>
                    <a:pt x="149" y="496"/>
                  </a:lnTo>
                  <a:lnTo>
                    <a:pt x="187" y="522"/>
                  </a:lnTo>
                  <a:lnTo>
                    <a:pt x="220" y="551"/>
                  </a:lnTo>
                  <a:lnTo>
                    <a:pt x="252" y="584"/>
                  </a:lnTo>
                  <a:lnTo>
                    <a:pt x="279" y="618"/>
                  </a:lnTo>
                  <a:lnTo>
                    <a:pt x="302" y="657"/>
                  </a:lnTo>
                  <a:lnTo>
                    <a:pt x="146" y="699"/>
                  </a:lnTo>
                  <a:lnTo>
                    <a:pt x="583" y="818"/>
                  </a:lnTo>
                </a:path>
              </a:pathLst>
            </a:custGeom>
            <a:solidFill>
              <a:srgbClr val="002776"/>
            </a:solidFill>
            <a:ln w="12700" cap="rnd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364" fontAlgn="auto">
                <a:spcBef>
                  <a:spcPct val="20000"/>
                </a:spcBef>
                <a:spcAft>
                  <a:spcPts val="0"/>
                </a:spcAft>
                <a:defRPr/>
              </a:pPr>
              <a:endParaRPr lang="en-GB" sz="1200" b="1" kern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7" name="Freeform 21">
              <a:extLst>
                <a:ext uri="{FF2B5EF4-FFF2-40B4-BE49-F238E27FC236}">
                  <a16:creationId xmlns:a16="http://schemas.microsoft.com/office/drawing/2014/main" id="{718F0B71-A8BB-4BF0-91E7-C76997CB3ABA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4845050" y="4671519"/>
              <a:ext cx="817563" cy="1250950"/>
            </a:xfrm>
            <a:custGeom>
              <a:avLst/>
              <a:gdLst>
                <a:gd name="T0" fmla="*/ 2147483647 w 666"/>
                <a:gd name="T1" fmla="*/ 2147483647 h 1033"/>
                <a:gd name="T2" fmla="*/ 2147483647 w 666"/>
                <a:gd name="T3" fmla="*/ 2147483647 h 1033"/>
                <a:gd name="T4" fmla="*/ 2147483647 w 666"/>
                <a:gd name="T5" fmla="*/ 2147483647 h 1033"/>
                <a:gd name="T6" fmla="*/ 2147483647 w 666"/>
                <a:gd name="T7" fmla="*/ 2147483647 h 1033"/>
                <a:gd name="T8" fmla="*/ 2147483647 w 666"/>
                <a:gd name="T9" fmla="*/ 2147483647 h 1033"/>
                <a:gd name="T10" fmla="*/ 2147483647 w 666"/>
                <a:gd name="T11" fmla="*/ 2147483647 h 1033"/>
                <a:gd name="T12" fmla="*/ 2147483647 w 666"/>
                <a:gd name="T13" fmla="*/ 2147483647 h 1033"/>
                <a:gd name="T14" fmla="*/ 2147483647 w 666"/>
                <a:gd name="T15" fmla="*/ 2147483647 h 1033"/>
                <a:gd name="T16" fmla="*/ 2147483647 w 666"/>
                <a:gd name="T17" fmla="*/ 2147483647 h 1033"/>
                <a:gd name="T18" fmla="*/ 2147483647 w 666"/>
                <a:gd name="T19" fmla="*/ 2147483647 h 1033"/>
                <a:gd name="T20" fmla="*/ 2147483647 w 666"/>
                <a:gd name="T21" fmla="*/ 2147483647 h 1033"/>
                <a:gd name="T22" fmla="*/ 0 w 666"/>
                <a:gd name="T23" fmla="*/ 2147483647 h 1033"/>
                <a:gd name="T24" fmla="*/ 0 w 666"/>
                <a:gd name="T25" fmla="*/ 2147483647 h 1033"/>
                <a:gd name="T26" fmla="*/ 2147483647 w 666"/>
                <a:gd name="T27" fmla="*/ 2147483647 h 1033"/>
                <a:gd name="T28" fmla="*/ 2147483647 w 666"/>
                <a:gd name="T29" fmla="*/ 2147483647 h 1033"/>
                <a:gd name="T30" fmla="*/ 2147483647 w 666"/>
                <a:gd name="T31" fmla="*/ 2147483647 h 1033"/>
                <a:gd name="T32" fmla="*/ 2147483647 w 666"/>
                <a:gd name="T33" fmla="*/ 2147483647 h 1033"/>
                <a:gd name="T34" fmla="*/ 2147483647 w 666"/>
                <a:gd name="T35" fmla="*/ 2147483647 h 1033"/>
                <a:gd name="T36" fmla="*/ 2147483647 w 666"/>
                <a:gd name="T37" fmla="*/ 2147483647 h 1033"/>
                <a:gd name="T38" fmla="*/ 2147483647 w 666"/>
                <a:gd name="T39" fmla="*/ 2147483647 h 1033"/>
                <a:gd name="T40" fmla="*/ 2147483647 w 666"/>
                <a:gd name="T41" fmla="*/ 2147483647 h 1033"/>
                <a:gd name="T42" fmla="*/ 2147483647 w 666"/>
                <a:gd name="T43" fmla="*/ 2147483647 h 1033"/>
                <a:gd name="T44" fmla="*/ 2147483647 w 666"/>
                <a:gd name="T45" fmla="*/ 2147483647 h 1033"/>
                <a:gd name="T46" fmla="*/ 2147483647 w 666"/>
                <a:gd name="T47" fmla="*/ 2147483647 h 1033"/>
                <a:gd name="T48" fmla="*/ 2147483647 w 666"/>
                <a:gd name="T49" fmla="*/ 2147483647 h 1033"/>
                <a:gd name="T50" fmla="*/ 2147483647 w 666"/>
                <a:gd name="T51" fmla="*/ 2147483647 h 1033"/>
                <a:gd name="T52" fmla="*/ 2147483647 w 666"/>
                <a:gd name="T53" fmla="*/ 2147483647 h 1033"/>
                <a:gd name="T54" fmla="*/ 2147483647 w 666"/>
                <a:gd name="T55" fmla="*/ 2147483647 h 1033"/>
                <a:gd name="T56" fmla="*/ 2147483647 w 666"/>
                <a:gd name="T57" fmla="*/ 2147483647 h 1033"/>
                <a:gd name="T58" fmla="*/ 2147483647 w 666"/>
                <a:gd name="T59" fmla="*/ 2147483647 h 1033"/>
                <a:gd name="T60" fmla="*/ 2147483647 w 666"/>
                <a:gd name="T61" fmla="*/ 2147483647 h 1033"/>
                <a:gd name="T62" fmla="*/ 2147483647 w 666"/>
                <a:gd name="T63" fmla="*/ 0 h 1033"/>
                <a:gd name="T64" fmla="*/ 2147483647 w 666"/>
                <a:gd name="T65" fmla="*/ 2147483647 h 1033"/>
                <a:gd name="T66" fmla="*/ 2147483647 w 666"/>
                <a:gd name="T67" fmla="*/ 2147483647 h 103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66"/>
                <a:gd name="T103" fmla="*/ 0 h 1033"/>
                <a:gd name="T104" fmla="*/ 666 w 666"/>
                <a:gd name="T105" fmla="*/ 1033 h 103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66" h="1033">
                  <a:moveTo>
                    <a:pt x="217" y="121"/>
                  </a:moveTo>
                  <a:lnTo>
                    <a:pt x="223" y="164"/>
                  </a:lnTo>
                  <a:lnTo>
                    <a:pt x="224" y="209"/>
                  </a:lnTo>
                  <a:lnTo>
                    <a:pt x="222" y="253"/>
                  </a:lnTo>
                  <a:lnTo>
                    <a:pt x="214" y="296"/>
                  </a:lnTo>
                  <a:lnTo>
                    <a:pt x="202" y="339"/>
                  </a:lnTo>
                  <a:lnTo>
                    <a:pt x="187" y="380"/>
                  </a:lnTo>
                  <a:lnTo>
                    <a:pt x="166" y="420"/>
                  </a:lnTo>
                  <a:lnTo>
                    <a:pt x="142" y="457"/>
                  </a:lnTo>
                  <a:lnTo>
                    <a:pt x="114" y="492"/>
                  </a:lnTo>
                  <a:lnTo>
                    <a:pt x="84" y="524"/>
                  </a:lnTo>
                  <a:lnTo>
                    <a:pt x="0" y="371"/>
                  </a:lnTo>
                  <a:lnTo>
                    <a:pt x="0" y="819"/>
                  </a:lnTo>
                  <a:lnTo>
                    <a:pt x="378" y="1032"/>
                  </a:lnTo>
                  <a:lnTo>
                    <a:pt x="306" y="909"/>
                  </a:lnTo>
                  <a:lnTo>
                    <a:pt x="354" y="871"/>
                  </a:lnTo>
                  <a:lnTo>
                    <a:pt x="398" y="831"/>
                  </a:lnTo>
                  <a:lnTo>
                    <a:pt x="440" y="787"/>
                  </a:lnTo>
                  <a:lnTo>
                    <a:pt x="480" y="741"/>
                  </a:lnTo>
                  <a:lnTo>
                    <a:pt x="515" y="692"/>
                  </a:lnTo>
                  <a:lnTo>
                    <a:pt x="547" y="641"/>
                  </a:lnTo>
                  <a:lnTo>
                    <a:pt x="575" y="588"/>
                  </a:lnTo>
                  <a:lnTo>
                    <a:pt x="600" y="533"/>
                  </a:lnTo>
                  <a:lnTo>
                    <a:pt x="621" y="476"/>
                  </a:lnTo>
                  <a:lnTo>
                    <a:pt x="638" y="419"/>
                  </a:lnTo>
                  <a:lnTo>
                    <a:pt x="651" y="359"/>
                  </a:lnTo>
                  <a:lnTo>
                    <a:pt x="659" y="300"/>
                  </a:lnTo>
                  <a:lnTo>
                    <a:pt x="664" y="239"/>
                  </a:lnTo>
                  <a:lnTo>
                    <a:pt x="665" y="180"/>
                  </a:lnTo>
                  <a:lnTo>
                    <a:pt x="662" y="119"/>
                  </a:lnTo>
                  <a:lnTo>
                    <a:pt x="654" y="59"/>
                  </a:lnTo>
                  <a:lnTo>
                    <a:pt x="642" y="0"/>
                  </a:lnTo>
                  <a:lnTo>
                    <a:pt x="454" y="190"/>
                  </a:lnTo>
                  <a:lnTo>
                    <a:pt x="217" y="121"/>
                  </a:lnTo>
                </a:path>
              </a:pathLst>
            </a:custGeom>
            <a:solidFill>
              <a:srgbClr val="92D400"/>
            </a:solidFill>
            <a:ln w="12700" cap="rnd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364" fontAlgn="auto">
                <a:spcBef>
                  <a:spcPct val="20000"/>
                </a:spcBef>
                <a:spcAft>
                  <a:spcPts val="0"/>
                </a:spcAft>
                <a:defRPr/>
              </a:pPr>
              <a:endParaRPr lang="en-GB" sz="1200" b="1" kern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8" name="Freeform 22">
              <a:extLst>
                <a:ext uri="{FF2B5EF4-FFF2-40B4-BE49-F238E27FC236}">
                  <a16:creationId xmlns:a16="http://schemas.microsoft.com/office/drawing/2014/main" id="{247FDF84-C510-4451-864B-BC0C8EF16E28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3822700" y="5208094"/>
              <a:ext cx="1265238" cy="771525"/>
            </a:xfrm>
            <a:custGeom>
              <a:avLst/>
              <a:gdLst>
                <a:gd name="T0" fmla="*/ 972882 w 1030"/>
                <a:gd name="T1" fmla="*/ 195001 h 637"/>
                <a:gd name="T2" fmla="*/ 924975 w 1030"/>
                <a:gd name="T3" fmla="*/ 211957 h 637"/>
                <a:gd name="T4" fmla="*/ 874611 w 1030"/>
                <a:gd name="T5" fmla="*/ 226492 h 637"/>
                <a:gd name="T6" fmla="*/ 823019 w 1030"/>
                <a:gd name="T7" fmla="*/ 233759 h 637"/>
                <a:gd name="T8" fmla="*/ 771427 w 1030"/>
                <a:gd name="T9" fmla="*/ 237392 h 637"/>
                <a:gd name="T10" fmla="*/ 719834 w 1030"/>
                <a:gd name="T11" fmla="*/ 234970 h 637"/>
                <a:gd name="T12" fmla="*/ 668242 w 1030"/>
                <a:gd name="T13" fmla="*/ 227703 h 637"/>
                <a:gd name="T14" fmla="*/ 616650 w 1030"/>
                <a:gd name="T15" fmla="*/ 216802 h 637"/>
                <a:gd name="T16" fmla="*/ 567514 w 1030"/>
                <a:gd name="T17" fmla="*/ 201057 h 637"/>
                <a:gd name="T18" fmla="*/ 520836 w 1030"/>
                <a:gd name="T19" fmla="*/ 179255 h 637"/>
                <a:gd name="T20" fmla="*/ 476614 w 1030"/>
                <a:gd name="T21" fmla="*/ 153821 h 637"/>
                <a:gd name="T22" fmla="*/ 605594 w 1030"/>
                <a:gd name="T23" fmla="*/ 0 h 637"/>
                <a:gd name="T24" fmla="*/ 89672 w 1030"/>
                <a:gd name="T25" fmla="*/ 184100 h 637"/>
                <a:gd name="T26" fmla="*/ 38080 w 1030"/>
                <a:gd name="T27" fmla="*/ 488108 h 637"/>
                <a:gd name="T28" fmla="*/ 40537 w 1030"/>
                <a:gd name="T29" fmla="*/ 490530 h 637"/>
                <a:gd name="T30" fmla="*/ 0 w 1030"/>
                <a:gd name="T31" fmla="*/ 712177 h 637"/>
                <a:gd name="T32" fmla="*/ 127752 w 1030"/>
                <a:gd name="T33" fmla="*/ 560779 h 637"/>
                <a:gd name="T34" fmla="*/ 190400 w 1030"/>
                <a:gd name="T35" fmla="*/ 603170 h 637"/>
                <a:gd name="T36" fmla="*/ 255504 w 1030"/>
                <a:gd name="T37" fmla="*/ 641928 h 637"/>
                <a:gd name="T38" fmla="*/ 321837 w 1030"/>
                <a:gd name="T39" fmla="*/ 674630 h 637"/>
                <a:gd name="T40" fmla="*/ 391855 w 1030"/>
                <a:gd name="T41" fmla="*/ 702487 h 637"/>
                <a:gd name="T42" fmla="*/ 463102 w 1030"/>
                <a:gd name="T43" fmla="*/ 726711 h 637"/>
                <a:gd name="T44" fmla="*/ 534348 w 1030"/>
                <a:gd name="T45" fmla="*/ 744879 h 637"/>
                <a:gd name="T46" fmla="*/ 609280 w 1030"/>
                <a:gd name="T47" fmla="*/ 759413 h 637"/>
                <a:gd name="T48" fmla="*/ 684211 w 1030"/>
                <a:gd name="T49" fmla="*/ 767891 h 637"/>
                <a:gd name="T50" fmla="*/ 759143 w 1030"/>
                <a:gd name="T51" fmla="*/ 770314 h 637"/>
                <a:gd name="T52" fmla="*/ 834074 w 1030"/>
                <a:gd name="T53" fmla="*/ 767891 h 637"/>
                <a:gd name="T54" fmla="*/ 909006 w 1030"/>
                <a:gd name="T55" fmla="*/ 760624 h 637"/>
                <a:gd name="T56" fmla="*/ 983937 w 1030"/>
                <a:gd name="T57" fmla="*/ 747301 h 637"/>
                <a:gd name="T58" fmla="*/ 1055184 w 1030"/>
                <a:gd name="T59" fmla="*/ 730345 h 637"/>
                <a:gd name="T60" fmla="*/ 1126430 w 1030"/>
                <a:gd name="T61" fmla="*/ 708543 h 637"/>
                <a:gd name="T62" fmla="*/ 1196448 w 1030"/>
                <a:gd name="T63" fmla="*/ 679475 h 637"/>
                <a:gd name="T64" fmla="*/ 1264010 w 1030"/>
                <a:gd name="T65" fmla="*/ 646773 h 637"/>
                <a:gd name="T66" fmla="*/ 976567 w 1030"/>
                <a:gd name="T67" fmla="*/ 482052 h 637"/>
                <a:gd name="T68" fmla="*/ 972882 w 1030"/>
                <a:gd name="T69" fmla="*/ 195001 h 63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0"/>
                <a:gd name="T106" fmla="*/ 0 h 637"/>
                <a:gd name="T107" fmla="*/ 1030 w 1030"/>
                <a:gd name="T108" fmla="*/ 637 h 63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0" h="637">
                  <a:moveTo>
                    <a:pt x="792" y="161"/>
                  </a:moveTo>
                  <a:lnTo>
                    <a:pt x="753" y="175"/>
                  </a:lnTo>
                  <a:lnTo>
                    <a:pt x="712" y="187"/>
                  </a:lnTo>
                  <a:lnTo>
                    <a:pt x="670" y="193"/>
                  </a:lnTo>
                  <a:lnTo>
                    <a:pt x="628" y="196"/>
                  </a:lnTo>
                  <a:lnTo>
                    <a:pt x="586" y="194"/>
                  </a:lnTo>
                  <a:lnTo>
                    <a:pt x="544" y="188"/>
                  </a:lnTo>
                  <a:lnTo>
                    <a:pt x="502" y="179"/>
                  </a:lnTo>
                  <a:lnTo>
                    <a:pt x="462" y="166"/>
                  </a:lnTo>
                  <a:lnTo>
                    <a:pt x="424" y="148"/>
                  </a:lnTo>
                  <a:lnTo>
                    <a:pt x="388" y="127"/>
                  </a:lnTo>
                  <a:lnTo>
                    <a:pt x="493" y="0"/>
                  </a:lnTo>
                  <a:lnTo>
                    <a:pt x="73" y="152"/>
                  </a:lnTo>
                  <a:lnTo>
                    <a:pt x="31" y="403"/>
                  </a:lnTo>
                  <a:lnTo>
                    <a:pt x="33" y="405"/>
                  </a:lnTo>
                  <a:lnTo>
                    <a:pt x="0" y="588"/>
                  </a:lnTo>
                  <a:lnTo>
                    <a:pt x="104" y="463"/>
                  </a:lnTo>
                  <a:lnTo>
                    <a:pt x="155" y="498"/>
                  </a:lnTo>
                  <a:lnTo>
                    <a:pt x="208" y="530"/>
                  </a:lnTo>
                  <a:lnTo>
                    <a:pt x="262" y="557"/>
                  </a:lnTo>
                  <a:lnTo>
                    <a:pt x="319" y="580"/>
                  </a:lnTo>
                  <a:lnTo>
                    <a:pt x="377" y="600"/>
                  </a:lnTo>
                  <a:lnTo>
                    <a:pt x="435" y="615"/>
                  </a:lnTo>
                  <a:lnTo>
                    <a:pt x="496" y="627"/>
                  </a:lnTo>
                  <a:lnTo>
                    <a:pt x="557" y="634"/>
                  </a:lnTo>
                  <a:lnTo>
                    <a:pt x="618" y="636"/>
                  </a:lnTo>
                  <a:lnTo>
                    <a:pt x="679" y="634"/>
                  </a:lnTo>
                  <a:lnTo>
                    <a:pt x="740" y="628"/>
                  </a:lnTo>
                  <a:lnTo>
                    <a:pt x="801" y="617"/>
                  </a:lnTo>
                  <a:lnTo>
                    <a:pt x="859" y="603"/>
                  </a:lnTo>
                  <a:lnTo>
                    <a:pt x="917" y="585"/>
                  </a:lnTo>
                  <a:lnTo>
                    <a:pt x="974" y="561"/>
                  </a:lnTo>
                  <a:lnTo>
                    <a:pt x="1029" y="534"/>
                  </a:lnTo>
                  <a:lnTo>
                    <a:pt x="795" y="398"/>
                  </a:lnTo>
                  <a:lnTo>
                    <a:pt x="792" y="161"/>
                  </a:lnTo>
                </a:path>
              </a:pathLst>
            </a:custGeom>
            <a:solidFill>
              <a:srgbClr val="00A1DE"/>
            </a:solidFill>
            <a:ln w="12700" cap="rnd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364" fontAlgn="auto">
                <a:spcBef>
                  <a:spcPct val="20000"/>
                </a:spcBef>
                <a:spcAft>
                  <a:spcPts val="0"/>
                </a:spcAft>
                <a:defRPr/>
              </a:pPr>
              <a:endParaRPr lang="en-GB" sz="1200" b="1" kern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" name="Freeform 23">
              <a:extLst>
                <a:ext uri="{FF2B5EF4-FFF2-40B4-BE49-F238E27FC236}">
                  <a16:creationId xmlns:a16="http://schemas.microsoft.com/office/drawing/2014/main" id="{E86DF5A2-DD38-4154-8B06-32076AD9D5C4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3375025" y="4476256"/>
              <a:ext cx="855663" cy="1174750"/>
            </a:xfrm>
            <a:custGeom>
              <a:avLst/>
              <a:gdLst>
                <a:gd name="T0" fmla="*/ 795509 w 697"/>
                <a:gd name="T1" fmla="*/ 773085 h 971"/>
                <a:gd name="T2" fmla="*/ 762363 w 697"/>
                <a:gd name="T3" fmla="*/ 729531 h 971"/>
                <a:gd name="T4" fmla="*/ 735355 w 697"/>
                <a:gd name="T5" fmla="*/ 681137 h 971"/>
                <a:gd name="T6" fmla="*/ 712030 w 697"/>
                <a:gd name="T7" fmla="*/ 631534 h 971"/>
                <a:gd name="T8" fmla="*/ 694843 w 697"/>
                <a:gd name="T9" fmla="*/ 580721 h 971"/>
                <a:gd name="T10" fmla="*/ 682566 w 697"/>
                <a:gd name="T11" fmla="*/ 527488 h 971"/>
                <a:gd name="T12" fmla="*/ 676428 w 697"/>
                <a:gd name="T13" fmla="*/ 474255 h 971"/>
                <a:gd name="T14" fmla="*/ 675200 w 697"/>
                <a:gd name="T15" fmla="*/ 419813 h 971"/>
                <a:gd name="T16" fmla="*/ 680111 w 697"/>
                <a:gd name="T17" fmla="*/ 365370 h 971"/>
                <a:gd name="T18" fmla="*/ 854435 w 697"/>
                <a:gd name="T19" fmla="*/ 445219 h 971"/>
                <a:gd name="T20" fmla="*/ 546298 w 697"/>
                <a:gd name="T21" fmla="*/ 0 h 971"/>
                <a:gd name="T22" fmla="*/ 0 w 697"/>
                <a:gd name="T23" fmla="*/ 53233 h 971"/>
                <a:gd name="T24" fmla="*/ 181690 w 697"/>
                <a:gd name="T25" fmla="*/ 136711 h 971"/>
                <a:gd name="T26" fmla="*/ 163276 w 697"/>
                <a:gd name="T27" fmla="*/ 209302 h 971"/>
                <a:gd name="T28" fmla="*/ 148544 w 697"/>
                <a:gd name="T29" fmla="*/ 281892 h 971"/>
                <a:gd name="T30" fmla="*/ 142406 w 697"/>
                <a:gd name="T31" fmla="*/ 356901 h 971"/>
                <a:gd name="T32" fmla="*/ 137495 w 697"/>
                <a:gd name="T33" fmla="*/ 431911 h 971"/>
                <a:gd name="T34" fmla="*/ 139951 w 697"/>
                <a:gd name="T35" fmla="*/ 505711 h 971"/>
                <a:gd name="T36" fmla="*/ 147316 w 697"/>
                <a:gd name="T37" fmla="*/ 579511 h 971"/>
                <a:gd name="T38" fmla="*/ 160820 w 697"/>
                <a:gd name="T39" fmla="*/ 653311 h 971"/>
                <a:gd name="T40" fmla="*/ 178007 w 697"/>
                <a:gd name="T41" fmla="*/ 724691 h 971"/>
                <a:gd name="T42" fmla="*/ 200105 w 697"/>
                <a:gd name="T43" fmla="*/ 797282 h 971"/>
                <a:gd name="T44" fmla="*/ 229568 w 697"/>
                <a:gd name="T45" fmla="*/ 866242 h 971"/>
                <a:gd name="T46" fmla="*/ 262714 w 697"/>
                <a:gd name="T47" fmla="*/ 932783 h 971"/>
                <a:gd name="T48" fmla="*/ 299543 w 697"/>
                <a:gd name="T49" fmla="*/ 998114 h 971"/>
                <a:gd name="T50" fmla="*/ 341283 w 697"/>
                <a:gd name="T51" fmla="*/ 1059816 h 971"/>
                <a:gd name="T52" fmla="*/ 387933 w 697"/>
                <a:gd name="T53" fmla="*/ 1119098 h 971"/>
                <a:gd name="T54" fmla="*/ 438266 w 697"/>
                <a:gd name="T55" fmla="*/ 1173540 h 971"/>
                <a:gd name="T56" fmla="*/ 489827 w 697"/>
                <a:gd name="T57" fmla="*/ 883180 h 971"/>
                <a:gd name="T58" fmla="*/ 795509 w 697"/>
                <a:gd name="T59" fmla="*/ 773085 h 97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97"/>
                <a:gd name="T91" fmla="*/ 0 h 971"/>
                <a:gd name="T92" fmla="*/ 697 w 697"/>
                <a:gd name="T93" fmla="*/ 971 h 97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97" h="971">
                  <a:moveTo>
                    <a:pt x="648" y="639"/>
                  </a:moveTo>
                  <a:lnTo>
                    <a:pt x="621" y="603"/>
                  </a:lnTo>
                  <a:lnTo>
                    <a:pt x="599" y="563"/>
                  </a:lnTo>
                  <a:lnTo>
                    <a:pt x="580" y="522"/>
                  </a:lnTo>
                  <a:lnTo>
                    <a:pt x="566" y="480"/>
                  </a:lnTo>
                  <a:lnTo>
                    <a:pt x="556" y="436"/>
                  </a:lnTo>
                  <a:lnTo>
                    <a:pt x="551" y="392"/>
                  </a:lnTo>
                  <a:lnTo>
                    <a:pt x="550" y="347"/>
                  </a:lnTo>
                  <a:lnTo>
                    <a:pt x="554" y="302"/>
                  </a:lnTo>
                  <a:lnTo>
                    <a:pt x="696" y="368"/>
                  </a:lnTo>
                  <a:lnTo>
                    <a:pt x="445" y="0"/>
                  </a:lnTo>
                  <a:lnTo>
                    <a:pt x="0" y="44"/>
                  </a:lnTo>
                  <a:lnTo>
                    <a:pt x="148" y="113"/>
                  </a:lnTo>
                  <a:lnTo>
                    <a:pt x="133" y="173"/>
                  </a:lnTo>
                  <a:lnTo>
                    <a:pt x="121" y="233"/>
                  </a:lnTo>
                  <a:lnTo>
                    <a:pt x="116" y="295"/>
                  </a:lnTo>
                  <a:lnTo>
                    <a:pt x="112" y="357"/>
                  </a:lnTo>
                  <a:lnTo>
                    <a:pt x="114" y="418"/>
                  </a:lnTo>
                  <a:lnTo>
                    <a:pt x="120" y="479"/>
                  </a:lnTo>
                  <a:lnTo>
                    <a:pt x="131" y="540"/>
                  </a:lnTo>
                  <a:lnTo>
                    <a:pt x="145" y="599"/>
                  </a:lnTo>
                  <a:lnTo>
                    <a:pt x="163" y="659"/>
                  </a:lnTo>
                  <a:lnTo>
                    <a:pt x="187" y="716"/>
                  </a:lnTo>
                  <a:lnTo>
                    <a:pt x="214" y="771"/>
                  </a:lnTo>
                  <a:lnTo>
                    <a:pt x="244" y="825"/>
                  </a:lnTo>
                  <a:lnTo>
                    <a:pt x="278" y="876"/>
                  </a:lnTo>
                  <a:lnTo>
                    <a:pt x="316" y="925"/>
                  </a:lnTo>
                  <a:lnTo>
                    <a:pt x="357" y="970"/>
                  </a:lnTo>
                  <a:lnTo>
                    <a:pt x="399" y="730"/>
                  </a:lnTo>
                  <a:lnTo>
                    <a:pt x="648" y="639"/>
                  </a:lnTo>
                </a:path>
              </a:pathLst>
            </a:custGeom>
            <a:solidFill>
              <a:srgbClr val="3C8A2E"/>
            </a:solidFill>
            <a:ln w="12700" cap="rnd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364" fontAlgn="auto">
                <a:spcBef>
                  <a:spcPct val="20000"/>
                </a:spcBef>
                <a:spcAft>
                  <a:spcPts val="0"/>
                </a:spcAft>
                <a:defRPr/>
              </a:pPr>
              <a:endParaRPr lang="en-GB" sz="1200" b="1" kern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" name="Rectangle 35">
              <a:extLst>
                <a:ext uri="{FF2B5EF4-FFF2-40B4-BE49-F238E27FC236}">
                  <a16:creationId xmlns:a16="http://schemas.microsoft.com/office/drawing/2014/main" id="{C489562A-424C-4380-B610-52A9C51DA35E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4829175" y="4259485"/>
              <a:ext cx="514350" cy="81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7368" fontAlgn="auto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defRPr/>
              </a:pPr>
              <a:r>
                <a:rPr lang="en-GB" sz="1200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Improve</a:t>
              </a:r>
            </a:p>
          </p:txBody>
        </p:sp>
        <p:sp>
          <p:nvSpPr>
            <p:cNvPr id="11" name="Rectangle 44">
              <a:extLst>
                <a:ext uri="{FF2B5EF4-FFF2-40B4-BE49-F238E27FC236}">
                  <a16:creationId xmlns:a16="http://schemas.microsoft.com/office/drawing/2014/main" id="{CCBD9DCC-4CE3-4A33-8201-6F44CE70DFF1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4981575" y="5250085"/>
              <a:ext cx="515938" cy="81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7368" fontAlgn="auto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defRPr/>
              </a:pPr>
              <a:r>
                <a:rPr lang="en-GB" sz="1200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Implement</a:t>
              </a:r>
            </a:p>
          </p:txBody>
        </p:sp>
        <p:sp>
          <p:nvSpPr>
            <p:cNvPr id="12" name="Rectangle 45">
              <a:extLst>
                <a:ext uri="{FF2B5EF4-FFF2-40B4-BE49-F238E27FC236}">
                  <a16:creationId xmlns:a16="http://schemas.microsoft.com/office/drawing/2014/main" id="{547363F8-7F0F-4F36-AE30-A0268A863058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4143375" y="5631085"/>
              <a:ext cx="515938" cy="81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7368" fontAlgn="auto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defRPr/>
              </a:pPr>
              <a:r>
                <a:rPr lang="en-GB" sz="1200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Refine</a:t>
              </a:r>
            </a:p>
          </p:txBody>
        </p:sp>
        <p:sp>
          <p:nvSpPr>
            <p:cNvPr id="13" name="Rectangle 46">
              <a:extLst>
                <a:ext uri="{FF2B5EF4-FFF2-40B4-BE49-F238E27FC236}">
                  <a16:creationId xmlns:a16="http://schemas.microsoft.com/office/drawing/2014/main" id="{8186629A-9CF7-476A-9BB5-38F779F3FB11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3533775" y="4945285"/>
              <a:ext cx="515938" cy="81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7368" fontAlgn="auto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defRPr/>
              </a:pPr>
              <a:r>
                <a:rPr lang="en-GB" sz="1200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Monitor</a:t>
              </a:r>
            </a:p>
          </p:txBody>
        </p:sp>
        <p:sp>
          <p:nvSpPr>
            <p:cNvPr id="14" name="Rectangle 47">
              <a:extLst>
                <a:ext uri="{FF2B5EF4-FFF2-40B4-BE49-F238E27FC236}">
                  <a16:creationId xmlns:a16="http://schemas.microsoft.com/office/drawing/2014/main" id="{2F180706-AA25-43FA-A4F2-10130A04121B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3914775" y="4183285"/>
              <a:ext cx="515938" cy="81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7368" fontAlgn="auto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defRPr/>
              </a:pPr>
              <a:r>
                <a:rPr lang="en-GB" sz="1200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Disco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7371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2E81EF-2FCA-40C4-9C66-E9C2D1523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4D54BD-0FBF-4F1F-BAA7-CDB0A1D5FE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Give this list to the gatekeepers</a:t>
            </a:r>
          </a:p>
          <a:p>
            <a:r>
              <a:rPr lang="en-US" sz="2800" dirty="0"/>
              <a:t>Identify all the NIGO condit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6227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C6C6A31-E695-4C2D-B524-CEEBB82D642A}"/>
              </a:ext>
            </a:extLst>
          </p:cNvPr>
          <p:cNvSpPr txBox="1">
            <a:spLocks/>
          </p:cNvSpPr>
          <p:nvPr/>
        </p:nvSpPr>
        <p:spPr>
          <a:xfrm>
            <a:off x="230188" y="509588"/>
            <a:ext cx="7942262" cy="5778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latin typeface="+mj-lt"/>
              </a:rPr>
              <a:t>Solution 3 : The NIGO Management team can streamline NIGO requirements and manage the NIGO processing</a:t>
            </a:r>
            <a:endParaRPr lang="en-US" sz="1800" i="1" dirty="0">
              <a:latin typeface="+mj-lt"/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2489BD9E-7575-42F9-B469-FAF0D7FFD8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5242865"/>
              </p:ext>
            </p:extLst>
          </p:nvPr>
        </p:nvGraphicFramePr>
        <p:xfrm>
          <a:off x="3223664" y="1087438"/>
          <a:ext cx="4948786" cy="33617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2C3C3BA5-5744-4C3E-9401-1BC5251CEF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023" y="2088411"/>
            <a:ext cx="2857500" cy="142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0554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9D5356C-B085-4290-BA0A-FD90225F3DA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E95010D-3137-480B-BC7D-3338EE475BC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91E0B90-9138-4B0B-8219-872608CE1D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5536C73-0004-4BDE-8BE3-E9B119CA97C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668B0B2-3A00-413C-A82A-D64666C7BB6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707D492-29A7-449F-8ABF-A645E05384A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A22B141-D87C-4533-8747-DB8412F0F68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6EAFF20-740B-4BE9-9361-BD1A75D8FD5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C0AAD04-CC91-4668-879C-FC1F1FDAD91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Dgm bld="one"/>
        </p:bldSub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966BB-4586-47DF-8896-6FAFBBB1D5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190D79-AF3F-456D-9DD5-9174DD809F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10C11B2-8805-4071-AA1E-D5A6129D5FB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188" y="1087438"/>
            <a:ext cx="2938131" cy="293813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67C5D13-188D-495C-A659-F3F0281EE137}"/>
              </a:ext>
            </a:extLst>
          </p:cNvPr>
          <p:cNvSpPr txBox="1"/>
          <p:nvPr/>
        </p:nvSpPr>
        <p:spPr>
          <a:xfrm>
            <a:off x="457201" y="1855299"/>
            <a:ext cx="24765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i="1" dirty="0">
                <a:solidFill>
                  <a:srgbClr val="5B9BD5">
                    <a:lumMod val="75000"/>
                  </a:srgbClr>
                </a:solidFill>
              </a:rPr>
              <a:t>Find the root-cause and create a measurable goa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D998BFB-75E3-4381-A5B7-DB321267CAB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9650" y="1087438"/>
            <a:ext cx="2938131" cy="29381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F8C0D8B-D15F-437D-968C-E8F4C6EDA220}"/>
              </a:ext>
            </a:extLst>
          </p:cNvPr>
          <p:cNvSpPr txBox="1"/>
          <p:nvPr/>
        </p:nvSpPr>
        <p:spPr>
          <a:xfrm>
            <a:off x="3525610" y="1843697"/>
            <a:ext cx="23062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i="1" dirty="0">
                <a:solidFill>
                  <a:srgbClr val="5B9BD5">
                    <a:lumMod val="75000"/>
                  </a:srgbClr>
                </a:solidFill>
              </a:rPr>
              <a:t>Be conscious, strategic and prioritiz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5AB240-8E53-4A93-9040-9E72FF0436CD}"/>
              </a:ext>
            </a:extLst>
          </p:cNvPr>
          <p:cNvSpPr txBox="1"/>
          <p:nvPr/>
        </p:nvSpPr>
        <p:spPr>
          <a:xfrm>
            <a:off x="6415191" y="1956338"/>
            <a:ext cx="24049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i="1" dirty="0">
                <a:solidFill>
                  <a:srgbClr val="5B9BD5">
                    <a:lumMod val="75000"/>
                  </a:srgbClr>
                </a:solidFill>
              </a:rPr>
              <a:t>People want to see your power,   not your fear</a:t>
            </a:r>
          </a:p>
        </p:txBody>
      </p:sp>
    </p:spTree>
    <p:extLst>
      <p:ext uri="{BB962C8B-B14F-4D97-AF65-F5344CB8AC3E}">
        <p14:creationId xmlns:p14="http://schemas.microsoft.com/office/powerpoint/2010/main" val="880210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CxgvY2MEiNdmxyNf36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CxgvY2MEiNdmxyNf36U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405</Words>
  <Application>Microsoft Office PowerPoint</Application>
  <PresentationFormat>Widescreen</PresentationFormat>
  <Paragraphs>101</Paragraphs>
  <Slides>1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Calibri</vt:lpstr>
      <vt:lpstr>Calibri Light</vt:lpstr>
      <vt:lpstr>Office Theme</vt:lpstr>
      <vt:lpstr>PowerPoint Presentation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 </dc:creator>
  <cp:lastModifiedBy> </cp:lastModifiedBy>
  <cp:revision>1</cp:revision>
  <dcterms:created xsi:type="dcterms:W3CDTF">2021-07-27T20:43:24Z</dcterms:created>
  <dcterms:modified xsi:type="dcterms:W3CDTF">2021-07-27T20:51:42Z</dcterms:modified>
</cp:coreProperties>
</file>